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256" r:id="rId2"/>
    <p:sldId id="259" r:id="rId3"/>
    <p:sldId id="294" r:id="rId4"/>
    <p:sldId id="268" r:id="rId5"/>
    <p:sldId id="279" r:id="rId6"/>
    <p:sldId id="280" r:id="rId7"/>
    <p:sldId id="272" r:id="rId8"/>
    <p:sldId id="270" r:id="rId9"/>
    <p:sldId id="275" r:id="rId10"/>
    <p:sldId id="271" r:id="rId11"/>
    <p:sldId id="282" r:id="rId12"/>
    <p:sldId id="293" r:id="rId13"/>
    <p:sldId id="285" r:id="rId14"/>
    <p:sldId id="286" r:id="rId15"/>
    <p:sldId id="287" r:id="rId16"/>
    <p:sldId id="288" r:id="rId17"/>
    <p:sldId id="289" r:id="rId18"/>
    <p:sldId id="290" r:id="rId19"/>
    <p:sldId id="292" r:id="rId20"/>
    <p:sldId id="278" r:id="rId21"/>
    <p:sldId id="267" r:id="rId22"/>
    <p:sldId id="277" r:id="rId23"/>
  </p:sldIdLst>
  <p:sldSz cx="9144000" cy="5143500" type="screen16x9"/>
  <p:notesSz cx="6858000" cy="91440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064" userDrawn="1">
          <p15:clr>
            <a:srgbClr val="A4A3A4"/>
          </p15:clr>
        </p15:guide>
        <p15:guide id="3" pos="295" userDrawn="1">
          <p15:clr>
            <a:srgbClr val="A4A3A4"/>
          </p15:clr>
        </p15:guide>
        <p15:guide id="4" pos="5465" userDrawn="1">
          <p15:clr>
            <a:srgbClr val="A4A3A4"/>
          </p15:clr>
        </p15:guide>
        <p15:guide id="5" orient="horz" pos="3026" userDrawn="1">
          <p15:clr>
            <a:srgbClr val="A4A3A4"/>
          </p15:clr>
        </p15:guide>
        <p15:guide id="6" orient="horz" pos="3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003C"/>
    <a:srgbClr val="E0A8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26" autoAdjust="0"/>
    <p:restoredTop sz="94660"/>
  </p:normalViewPr>
  <p:slideViewPr>
    <p:cSldViewPr>
      <p:cViewPr varScale="1">
        <p:scale>
          <a:sx n="150" d="100"/>
          <a:sy n="150" d="100"/>
        </p:scale>
        <p:origin x="792" y="114"/>
      </p:cViewPr>
      <p:guideLst>
        <p:guide orient="horz" pos="1620"/>
        <p:guide pos="2064"/>
        <p:guide pos="295"/>
        <p:guide pos="5465"/>
        <p:guide orient="horz" pos="3026"/>
        <p:guide orient="horz" pos="35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8" d="100"/>
          <a:sy n="88" d="100"/>
        </p:scale>
        <p:origin x="296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1CC038-CFFE-4F26-8C3D-7FFA735EA9DB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8A680DFA-559D-4AC8-88AA-0B9533C1D83F}">
      <dgm:prSet phldrT="[文本]" custT="1"/>
      <dgm:spPr/>
      <dgm:t>
        <a:bodyPr/>
        <a:lstStyle/>
        <a:p>
          <a:r>
            <a:rPr lang="zh-CN" altLang="en-US" sz="1400" dirty="0" smtClean="0"/>
            <a:t>项目启动</a:t>
          </a:r>
          <a:endParaRPr lang="zh-CN" altLang="en-US" sz="1400" dirty="0"/>
        </a:p>
      </dgm:t>
    </dgm:pt>
    <dgm:pt modelId="{CEE29AB6-62ED-45DE-AC54-B7220836E357}" type="parTrans" cxnId="{8F118DD7-0AA0-4DCA-B62A-FDEC2B542EB4}">
      <dgm:prSet/>
      <dgm:spPr/>
      <dgm:t>
        <a:bodyPr/>
        <a:lstStyle/>
        <a:p>
          <a:endParaRPr lang="zh-CN" altLang="en-US" sz="1400"/>
        </a:p>
      </dgm:t>
    </dgm:pt>
    <dgm:pt modelId="{AEC96B90-68BA-4FFC-BC8B-142F3181D52F}" type="sibTrans" cxnId="{8F118DD7-0AA0-4DCA-B62A-FDEC2B542EB4}">
      <dgm:prSet custT="1"/>
      <dgm:spPr/>
      <dgm:t>
        <a:bodyPr/>
        <a:lstStyle/>
        <a:p>
          <a:endParaRPr lang="zh-CN" altLang="en-US" sz="1400"/>
        </a:p>
      </dgm:t>
    </dgm:pt>
    <dgm:pt modelId="{CAA285EA-1E66-470A-81C2-32DD19EA4C4D}">
      <dgm:prSet phldrT="[文本]" custT="1"/>
      <dgm:spPr/>
      <dgm:t>
        <a:bodyPr/>
        <a:lstStyle/>
        <a:p>
          <a:r>
            <a:rPr lang="zh-CN" altLang="en-US" sz="1400" dirty="0" smtClean="0"/>
            <a:t>项目执行</a:t>
          </a:r>
          <a:endParaRPr lang="zh-CN" altLang="en-US" sz="1400" dirty="0"/>
        </a:p>
      </dgm:t>
    </dgm:pt>
    <dgm:pt modelId="{92F15615-EC2B-47D2-9525-CEF722B2424E}" type="parTrans" cxnId="{0480DEB3-FD9B-41CE-A976-910D90EA08C6}">
      <dgm:prSet/>
      <dgm:spPr/>
      <dgm:t>
        <a:bodyPr/>
        <a:lstStyle/>
        <a:p>
          <a:endParaRPr lang="zh-CN" altLang="en-US" sz="1400"/>
        </a:p>
      </dgm:t>
    </dgm:pt>
    <dgm:pt modelId="{80A62E01-4F9F-4A80-9D78-3F46CF752112}" type="sibTrans" cxnId="{0480DEB3-FD9B-41CE-A976-910D90EA08C6}">
      <dgm:prSet/>
      <dgm:spPr/>
      <dgm:t>
        <a:bodyPr/>
        <a:lstStyle/>
        <a:p>
          <a:endParaRPr lang="zh-CN" altLang="en-US" sz="1400"/>
        </a:p>
      </dgm:t>
    </dgm:pt>
    <dgm:pt modelId="{14D44430-3591-4CF4-AA60-8A9DA1197C22}">
      <dgm:prSet phldrT="[文本]" custT="1"/>
      <dgm:spPr/>
      <dgm:t>
        <a:bodyPr/>
        <a:lstStyle/>
        <a:p>
          <a:r>
            <a:rPr lang="zh-CN" altLang="en-US" sz="1400" dirty="0" smtClean="0"/>
            <a:t>测试阶段</a:t>
          </a:r>
          <a:endParaRPr lang="zh-CN" altLang="en-US" sz="1400" dirty="0"/>
        </a:p>
      </dgm:t>
    </dgm:pt>
    <dgm:pt modelId="{91896CA0-95BD-4647-827C-1C3840497E95}" type="parTrans" cxnId="{489DCBED-7355-4428-8AC2-E3DACDE4D066}">
      <dgm:prSet/>
      <dgm:spPr/>
      <dgm:t>
        <a:bodyPr/>
        <a:lstStyle/>
        <a:p>
          <a:endParaRPr lang="zh-CN" altLang="en-US"/>
        </a:p>
      </dgm:t>
    </dgm:pt>
    <dgm:pt modelId="{268F8470-B430-466E-AC55-5146C3566108}" type="sibTrans" cxnId="{489DCBED-7355-4428-8AC2-E3DACDE4D066}">
      <dgm:prSet/>
      <dgm:spPr/>
      <dgm:t>
        <a:bodyPr/>
        <a:lstStyle/>
        <a:p>
          <a:endParaRPr lang="zh-CN" altLang="en-US"/>
        </a:p>
      </dgm:t>
    </dgm:pt>
    <dgm:pt modelId="{0A5C301A-3E65-4F83-922D-841D95DD3D17}">
      <dgm:prSet phldrT="[文本]" custT="1"/>
      <dgm:spPr/>
      <dgm:t>
        <a:bodyPr/>
        <a:lstStyle/>
        <a:p>
          <a:r>
            <a:rPr lang="zh-CN" altLang="en-US" sz="1400" dirty="0" smtClean="0"/>
            <a:t>培训阶段</a:t>
          </a:r>
          <a:endParaRPr lang="zh-CN" altLang="en-US" sz="1400" dirty="0"/>
        </a:p>
      </dgm:t>
    </dgm:pt>
    <dgm:pt modelId="{3E13B06E-6267-4ED6-92B7-0D857FC54269}" type="parTrans" cxnId="{A52020FA-CB42-403D-9A7C-903785D8CF8B}">
      <dgm:prSet/>
      <dgm:spPr/>
      <dgm:t>
        <a:bodyPr/>
        <a:lstStyle/>
        <a:p>
          <a:endParaRPr lang="zh-CN" altLang="en-US"/>
        </a:p>
      </dgm:t>
    </dgm:pt>
    <dgm:pt modelId="{B3273660-B425-43AC-97ED-14A7C6BD4F40}" type="sibTrans" cxnId="{A52020FA-CB42-403D-9A7C-903785D8CF8B}">
      <dgm:prSet/>
      <dgm:spPr/>
      <dgm:t>
        <a:bodyPr/>
        <a:lstStyle/>
        <a:p>
          <a:endParaRPr lang="zh-CN" altLang="en-US"/>
        </a:p>
      </dgm:t>
    </dgm:pt>
    <dgm:pt modelId="{EC24FD2A-FB08-450D-A55C-32B9B1B36199}">
      <dgm:prSet phldrT="[文本]" custT="1"/>
      <dgm:spPr/>
      <dgm:t>
        <a:bodyPr/>
        <a:lstStyle/>
        <a:p>
          <a:r>
            <a:rPr lang="zh-CN" altLang="en-US" sz="1400" dirty="0" smtClean="0"/>
            <a:t>部署上线</a:t>
          </a:r>
          <a:endParaRPr lang="zh-CN" altLang="en-US" sz="1400" dirty="0"/>
        </a:p>
      </dgm:t>
    </dgm:pt>
    <dgm:pt modelId="{65A0AC29-8706-4AD3-B26A-CA29342DAC0B}" type="parTrans" cxnId="{934372C7-78EA-468C-9DB5-316BD3C925B2}">
      <dgm:prSet/>
      <dgm:spPr/>
      <dgm:t>
        <a:bodyPr/>
        <a:lstStyle/>
        <a:p>
          <a:endParaRPr lang="zh-CN" altLang="en-US"/>
        </a:p>
      </dgm:t>
    </dgm:pt>
    <dgm:pt modelId="{1A831CA3-6B83-42B6-B7BD-A30E1E6A986A}" type="sibTrans" cxnId="{934372C7-78EA-468C-9DB5-316BD3C925B2}">
      <dgm:prSet/>
      <dgm:spPr/>
      <dgm:t>
        <a:bodyPr/>
        <a:lstStyle/>
        <a:p>
          <a:endParaRPr lang="zh-CN" altLang="en-US"/>
        </a:p>
      </dgm:t>
    </dgm:pt>
    <dgm:pt modelId="{4595BBB5-060F-4B5C-931D-FC2F2ED1C47A}">
      <dgm:prSet phldrT="[文本]" custT="1"/>
      <dgm:spPr/>
      <dgm:t>
        <a:bodyPr/>
        <a:lstStyle/>
        <a:p>
          <a:r>
            <a:rPr lang="zh-CN" altLang="en-US" sz="1400" dirty="0" smtClean="0"/>
            <a:t>系统运维</a:t>
          </a:r>
          <a:endParaRPr lang="zh-CN" altLang="en-US" sz="1400" dirty="0"/>
        </a:p>
      </dgm:t>
    </dgm:pt>
    <dgm:pt modelId="{D46BEA7E-34C6-4858-98EA-3FB136406948}" type="parTrans" cxnId="{38CE18D0-F39F-49A9-ADA5-635DBEC6316F}">
      <dgm:prSet/>
      <dgm:spPr/>
      <dgm:t>
        <a:bodyPr/>
        <a:lstStyle/>
        <a:p>
          <a:endParaRPr lang="zh-CN" altLang="en-US"/>
        </a:p>
      </dgm:t>
    </dgm:pt>
    <dgm:pt modelId="{A9553AD2-E9D3-444C-8DC0-BE813A555AE1}" type="sibTrans" cxnId="{38CE18D0-F39F-49A9-ADA5-635DBEC6316F}">
      <dgm:prSet/>
      <dgm:spPr/>
      <dgm:t>
        <a:bodyPr/>
        <a:lstStyle/>
        <a:p>
          <a:endParaRPr lang="zh-CN" altLang="en-US"/>
        </a:p>
      </dgm:t>
    </dgm:pt>
    <dgm:pt modelId="{7CA8288A-2525-49CF-91A3-0DEAD755641F}" type="pres">
      <dgm:prSet presAssocID="{3A1CC038-CFFE-4F26-8C3D-7FFA735EA9DB}" presName="Name0" presStyleCnt="0">
        <dgm:presLayoutVars>
          <dgm:dir/>
          <dgm:resizeHandles val="exact"/>
        </dgm:presLayoutVars>
      </dgm:prSet>
      <dgm:spPr/>
    </dgm:pt>
    <dgm:pt modelId="{F28F0C5F-793A-4E3E-B2F3-EA814A724B0A}" type="pres">
      <dgm:prSet presAssocID="{8A680DFA-559D-4AC8-88AA-0B9533C1D83F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93EE6B9-03F5-4476-973F-F508B2BE918B}" type="pres">
      <dgm:prSet presAssocID="{AEC96B90-68BA-4FFC-BC8B-142F3181D52F}" presName="sibTrans" presStyleLbl="sibTrans2D1" presStyleIdx="0" presStyleCnt="5"/>
      <dgm:spPr/>
      <dgm:t>
        <a:bodyPr/>
        <a:lstStyle/>
        <a:p>
          <a:endParaRPr lang="zh-CN" altLang="en-US"/>
        </a:p>
      </dgm:t>
    </dgm:pt>
    <dgm:pt modelId="{819A08F5-B849-462A-A403-4811E62672BF}" type="pres">
      <dgm:prSet presAssocID="{AEC96B90-68BA-4FFC-BC8B-142F3181D52F}" presName="connectorText" presStyleLbl="sibTrans2D1" presStyleIdx="0" presStyleCnt="5"/>
      <dgm:spPr/>
      <dgm:t>
        <a:bodyPr/>
        <a:lstStyle/>
        <a:p>
          <a:endParaRPr lang="zh-CN" altLang="en-US"/>
        </a:p>
      </dgm:t>
    </dgm:pt>
    <dgm:pt modelId="{8F8B1A07-F4FF-4D13-85A1-6C6B27D7DEE3}" type="pres">
      <dgm:prSet presAssocID="{CAA285EA-1E66-470A-81C2-32DD19EA4C4D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30EC148-8201-462F-90A8-AB3E615F1971}" type="pres">
      <dgm:prSet presAssocID="{80A62E01-4F9F-4A80-9D78-3F46CF752112}" presName="sibTrans" presStyleLbl="sibTrans2D1" presStyleIdx="1" presStyleCnt="5"/>
      <dgm:spPr/>
      <dgm:t>
        <a:bodyPr/>
        <a:lstStyle/>
        <a:p>
          <a:endParaRPr lang="zh-CN" altLang="en-US"/>
        </a:p>
      </dgm:t>
    </dgm:pt>
    <dgm:pt modelId="{261F5806-D290-428B-988E-96A5AD79C8A2}" type="pres">
      <dgm:prSet presAssocID="{80A62E01-4F9F-4A80-9D78-3F46CF752112}" presName="connectorText" presStyleLbl="sibTrans2D1" presStyleIdx="1" presStyleCnt="5"/>
      <dgm:spPr/>
      <dgm:t>
        <a:bodyPr/>
        <a:lstStyle/>
        <a:p>
          <a:endParaRPr lang="zh-CN" altLang="en-US"/>
        </a:p>
      </dgm:t>
    </dgm:pt>
    <dgm:pt modelId="{7F544F92-DDBB-4EA0-A881-2C3BF558ECE8}" type="pres">
      <dgm:prSet presAssocID="{14D44430-3591-4CF4-AA60-8A9DA1197C22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EAD41BA-4D54-4627-BEBB-9577619B18A9}" type="pres">
      <dgm:prSet presAssocID="{268F8470-B430-466E-AC55-5146C3566108}" presName="sibTrans" presStyleLbl="sibTrans2D1" presStyleIdx="2" presStyleCnt="5"/>
      <dgm:spPr/>
      <dgm:t>
        <a:bodyPr/>
        <a:lstStyle/>
        <a:p>
          <a:endParaRPr lang="zh-CN" altLang="en-US"/>
        </a:p>
      </dgm:t>
    </dgm:pt>
    <dgm:pt modelId="{21D56EF0-0A47-4F49-9F39-198DA75A7323}" type="pres">
      <dgm:prSet presAssocID="{268F8470-B430-466E-AC55-5146C3566108}" presName="connectorText" presStyleLbl="sibTrans2D1" presStyleIdx="2" presStyleCnt="5"/>
      <dgm:spPr/>
      <dgm:t>
        <a:bodyPr/>
        <a:lstStyle/>
        <a:p>
          <a:endParaRPr lang="zh-CN" altLang="en-US"/>
        </a:p>
      </dgm:t>
    </dgm:pt>
    <dgm:pt modelId="{39391B51-956A-4AB5-BB17-CD8F574F310B}" type="pres">
      <dgm:prSet presAssocID="{EC24FD2A-FB08-450D-A55C-32B9B1B36199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FC2C833-FFE6-4C42-A2FA-5454B3E81151}" type="pres">
      <dgm:prSet presAssocID="{1A831CA3-6B83-42B6-B7BD-A30E1E6A986A}" presName="sibTrans" presStyleLbl="sibTrans2D1" presStyleIdx="3" presStyleCnt="5"/>
      <dgm:spPr/>
      <dgm:t>
        <a:bodyPr/>
        <a:lstStyle/>
        <a:p>
          <a:endParaRPr lang="zh-CN" altLang="en-US"/>
        </a:p>
      </dgm:t>
    </dgm:pt>
    <dgm:pt modelId="{E1F1AFCF-0C55-44B6-BC1B-C6FE376A427B}" type="pres">
      <dgm:prSet presAssocID="{1A831CA3-6B83-42B6-B7BD-A30E1E6A986A}" presName="connectorText" presStyleLbl="sibTrans2D1" presStyleIdx="3" presStyleCnt="5"/>
      <dgm:spPr/>
      <dgm:t>
        <a:bodyPr/>
        <a:lstStyle/>
        <a:p>
          <a:endParaRPr lang="zh-CN" altLang="en-US"/>
        </a:p>
      </dgm:t>
    </dgm:pt>
    <dgm:pt modelId="{860C4179-457F-4896-A02E-0183C2625DEA}" type="pres">
      <dgm:prSet presAssocID="{0A5C301A-3E65-4F83-922D-841D95DD3D17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D531399-4CAE-4CA2-9296-29B0C30A6521}" type="pres">
      <dgm:prSet presAssocID="{B3273660-B425-43AC-97ED-14A7C6BD4F40}" presName="sibTrans" presStyleLbl="sibTrans2D1" presStyleIdx="4" presStyleCnt="5"/>
      <dgm:spPr/>
      <dgm:t>
        <a:bodyPr/>
        <a:lstStyle/>
        <a:p>
          <a:endParaRPr lang="zh-CN" altLang="en-US"/>
        </a:p>
      </dgm:t>
    </dgm:pt>
    <dgm:pt modelId="{58AC91EF-8017-4555-A883-4255F598F4E3}" type="pres">
      <dgm:prSet presAssocID="{B3273660-B425-43AC-97ED-14A7C6BD4F40}" presName="connectorText" presStyleLbl="sibTrans2D1" presStyleIdx="4" presStyleCnt="5"/>
      <dgm:spPr/>
      <dgm:t>
        <a:bodyPr/>
        <a:lstStyle/>
        <a:p>
          <a:endParaRPr lang="zh-CN" altLang="en-US"/>
        </a:p>
      </dgm:t>
    </dgm:pt>
    <dgm:pt modelId="{B0722A25-2ABD-4495-BB6D-F7FC0C566A0E}" type="pres">
      <dgm:prSet presAssocID="{4595BBB5-060F-4B5C-931D-FC2F2ED1C47A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50D7D54-390B-4614-AEC3-AD0DD8DE3D35}" type="presOf" srcId="{CAA285EA-1E66-470A-81C2-32DD19EA4C4D}" destId="{8F8B1A07-F4FF-4D13-85A1-6C6B27D7DEE3}" srcOrd="0" destOrd="0" presId="urn:microsoft.com/office/officeart/2005/8/layout/process1"/>
    <dgm:cxn modelId="{6B94AFA8-0BF6-4D1C-AD7F-2606EA402B23}" type="presOf" srcId="{B3273660-B425-43AC-97ED-14A7C6BD4F40}" destId="{9D531399-4CAE-4CA2-9296-29B0C30A6521}" srcOrd="0" destOrd="0" presId="urn:microsoft.com/office/officeart/2005/8/layout/process1"/>
    <dgm:cxn modelId="{FACF5BD1-EF85-487E-9058-C4A7B7A1F63C}" type="presOf" srcId="{0A5C301A-3E65-4F83-922D-841D95DD3D17}" destId="{860C4179-457F-4896-A02E-0183C2625DEA}" srcOrd="0" destOrd="0" presId="urn:microsoft.com/office/officeart/2005/8/layout/process1"/>
    <dgm:cxn modelId="{A52020FA-CB42-403D-9A7C-903785D8CF8B}" srcId="{3A1CC038-CFFE-4F26-8C3D-7FFA735EA9DB}" destId="{0A5C301A-3E65-4F83-922D-841D95DD3D17}" srcOrd="4" destOrd="0" parTransId="{3E13B06E-6267-4ED6-92B7-0D857FC54269}" sibTransId="{B3273660-B425-43AC-97ED-14A7C6BD4F40}"/>
    <dgm:cxn modelId="{CD5F51FD-6890-477B-8104-825020994BE8}" type="presOf" srcId="{B3273660-B425-43AC-97ED-14A7C6BD4F40}" destId="{58AC91EF-8017-4555-A883-4255F598F4E3}" srcOrd="1" destOrd="0" presId="urn:microsoft.com/office/officeart/2005/8/layout/process1"/>
    <dgm:cxn modelId="{FD85E8EB-21C8-475D-8556-E30C9A81C32B}" type="presOf" srcId="{80A62E01-4F9F-4A80-9D78-3F46CF752112}" destId="{261F5806-D290-428B-988E-96A5AD79C8A2}" srcOrd="1" destOrd="0" presId="urn:microsoft.com/office/officeart/2005/8/layout/process1"/>
    <dgm:cxn modelId="{E7BE99C2-C34A-4DAA-B90F-52DB48CEAC71}" type="presOf" srcId="{268F8470-B430-466E-AC55-5146C3566108}" destId="{9EAD41BA-4D54-4627-BEBB-9577619B18A9}" srcOrd="0" destOrd="0" presId="urn:microsoft.com/office/officeart/2005/8/layout/process1"/>
    <dgm:cxn modelId="{A6B45CE5-6B0F-46AA-8565-ED56150D0135}" type="presOf" srcId="{AEC96B90-68BA-4FFC-BC8B-142F3181D52F}" destId="{819A08F5-B849-462A-A403-4811E62672BF}" srcOrd="1" destOrd="0" presId="urn:microsoft.com/office/officeart/2005/8/layout/process1"/>
    <dgm:cxn modelId="{14E7C046-B4C1-412D-8BCF-BE96A41874CF}" type="presOf" srcId="{80A62E01-4F9F-4A80-9D78-3F46CF752112}" destId="{C30EC148-8201-462F-90A8-AB3E615F1971}" srcOrd="0" destOrd="0" presId="urn:microsoft.com/office/officeart/2005/8/layout/process1"/>
    <dgm:cxn modelId="{05BE89AC-8DEE-4430-B357-43F59CC88F6C}" type="presOf" srcId="{14D44430-3591-4CF4-AA60-8A9DA1197C22}" destId="{7F544F92-DDBB-4EA0-A881-2C3BF558ECE8}" srcOrd="0" destOrd="0" presId="urn:microsoft.com/office/officeart/2005/8/layout/process1"/>
    <dgm:cxn modelId="{0480DEB3-FD9B-41CE-A976-910D90EA08C6}" srcId="{3A1CC038-CFFE-4F26-8C3D-7FFA735EA9DB}" destId="{CAA285EA-1E66-470A-81C2-32DD19EA4C4D}" srcOrd="1" destOrd="0" parTransId="{92F15615-EC2B-47D2-9525-CEF722B2424E}" sibTransId="{80A62E01-4F9F-4A80-9D78-3F46CF752112}"/>
    <dgm:cxn modelId="{443B4849-F1C7-4E1F-AAFB-B5FF96B28C0B}" type="presOf" srcId="{8A680DFA-559D-4AC8-88AA-0B9533C1D83F}" destId="{F28F0C5F-793A-4E3E-B2F3-EA814A724B0A}" srcOrd="0" destOrd="0" presId="urn:microsoft.com/office/officeart/2005/8/layout/process1"/>
    <dgm:cxn modelId="{943B152A-BF87-4CF3-B7CB-1DDAC1A64E0D}" type="presOf" srcId="{AEC96B90-68BA-4FFC-BC8B-142F3181D52F}" destId="{893EE6B9-03F5-4476-973F-F508B2BE918B}" srcOrd="0" destOrd="0" presId="urn:microsoft.com/office/officeart/2005/8/layout/process1"/>
    <dgm:cxn modelId="{489DCBED-7355-4428-8AC2-E3DACDE4D066}" srcId="{3A1CC038-CFFE-4F26-8C3D-7FFA735EA9DB}" destId="{14D44430-3591-4CF4-AA60-8A9DA1197C22}" srcOrd="2" destOrd="0" parTransId="{91896CA0-95BD-4647-827C-1C3840497E95}" sibTransId="{268F8470-B430-466E-AC55-5146C3566108}"/>
    <dgm:cxn modelId="{09B27D53-440F-4F07-9AC0-9FB9B0ED94AD}" type="presOf" srcId="{3A1CC038-CFFE-4F26-8C3D-7FFA735EA9DB}" destId="{7CA8288A-2525-49CF-91A3-0DEAD755641F}" srcOrd="0" destOrd="0" presId="urn:microsoft.com/office/officeart/2005/8/layout/process1"/>
    <dgm:cxn modelId="{934372C7-78EA-468C-9DB5-316BD3C925B2}" srcId="{3A1CC038-CFFE-4F26-8C3D-7FFA735EA9DB}" destId="{EC24FD2A-FB08-450D-A55C-32B9B1B36199}" srcOrd="3" destOrd="0" parTransId="{65A0AC29-8706-4AD3-B26A-CA29342DAC0B}" sibTransId="{1A831CA3-6B83-42B6-B7BD-A30E1E6A986A}"/>
    <dgm:cxn modelId="{541705E2-5CCC-452F-B504-999B0469AC24}" type="presOf" srcId="{EC24FD2A-FB08-450D-A55C-32B9B1B36199}" destId="{39391B51-956A-4AB5-BB17-CD8F574F310B}" srcOrd="0" destOrd="0" presId="urn:microsoft.com/office/officeart/2005/8/layout/process1"/>
    <dgm:cxn modelId="{A56E3A13-C823-4F8C-8627-C15D48D263EA}" type="presOf" srcId="{268F8470-B430-466E-AC55-5146C3566108}" destId="{21D56EF0-0A47-4F49-9F39-198DA75A7323}" srcOrd="1" destOrd="0" presId="urn:microsoft.com/office/officeart/2005/8/layout/process1"/>
    <dgm:cxn modelId="{79F55CCF-44F2-4E90-AB63-F29465081873}" type="presOf" srcId="{1A831CA3-6B83-42B6-B7BD-A30E1E6A986A}" destId="{CFC2C833-FFE6-4C42-A2FA-5454B3E81151}" srcOrd="0" destOrd="0" presId="urn:microsoft.com/office/officeart/2005/8/layout/process1"/>
    <dgm:cxn modelId="{EB0CADBB-E05E-4D83-8659-DCFBE865C844}" type="presOf" srcId="{4595BBB5-060F-4B5C-931D-FC2F2ED1C47A}" destId="{B0722A25-2ABD-4495-BB6D-F7FC0C566A0E}" srcOrd="0" destOrd="0" presId="urn:microsoft.com/office/officeart/2005/8/layout/process1"/>
    <dgm:cxn modelId="{38CE18D0-F39F-49A9-ADA5-635DBEC6316F}" srcId="{3A1CC038-CFFE-4F26-8C3D-7FFA735EA9DB}" destId="{4595BBB5-060F-4B5C-931D-FC2F2ED1C47A}" srcOrd="5" destOrd="0" parTransId="{D46BEA7E-34C6-4858-98EA-3FB136406948}" sibTransId="{A9553AD2-E9D3-444C-8DC0-BE813A555AE1}"/>
    <dgm:cxn modelId="{8F118DD7-0AA0-4DCA-B62A-FDEC2B542EB4}" srcId="{3A1CC038-CFFE-4F26-8C3D-7FFA735EA9DB}" destId="{8A680DFA-559D-4AC8-88AA-0B9533C1D83F}" srcOrd="0" destOrd="0" parTransId="{CEE29AB6-62ED-45DE-AC54-B7220836E357}" sibTransId="{AEC96B90-68BA-4FFC-BC8B-142F3181D52F}"/>
    <dgm:cxn modelId="{5EB8A94C-5F24-47CF-A840-5BEC9DF9BBB5}" type="presOf" srcId="{1A831CA3-6B83-42B6-B7BD-A30E1E6A986A}" destId="{E1F1AFCF-0C55-44B6-BC1B-C6FE376A427B}" srcOrd="1" destOrd="0" presId="urn:microsoft.com/office/officeart/2005/8/layout/process1"/>
    <dgm:cxn modelId="{B13C3DDE-7F39-42E9-B5B8-7ADB1D112DE0}" type="presParOf" srcId="{7CA8288A-2525-49CF-91A3-0DEAD755641F}" destId="{F28F0C5F-793A-4E3E-B2F3-EA814A724B0A}" srcOrd="0" destOrd="0" presId="urn:microsoft.com/office/officeart/2005/8/layout/process1"/>
    <dgm:cxn modelId="{0AC130D0-ACDB-4E10-93C8-CE5D3E5F33C0}" type="presParOf" srcId="{7CA8288A-2525-49CF-91A3-0DEAD755641F}" destId="{893EE6B9-03F5-4476-973F-F508B2BE918B}" srcOrd="1" destOrd="0" presId="urn:microsoft.com/office/officeart/2005/8/layout/process1"/>
    <dgm:cxn modelId="{E2B70AFF-313B-46C5-8318-35AD014B175E}" type="presParOf" srcId="{893EE6B9-03F5-4476-973F-F508B2BE918B}" destId="{819A08F5-B849-462A-A403-4811E62672BF}" srcOrd="0" destOrd="0" presId="urn:microsoft.com/office/officeart/2005/8/layout/process1"/>
    <dgm:cxn modelId="{AC133D97-5FFA-4FED-995B-7679A7469A35}" type="presParOf" srcId="{7CA8288A-2525-49CF-91A3-0DEAD755641F}" destId="{8F8B1A07-F4FF-4D13-85A1-6C6B27D7DEE3}" srcOrd="2" destOrd="0" presId="urn:microsoft.com/office/officeart/2005/8/layout/process1"/>
    <dgm:cxn modelId="{26E425ED-A507-4396-9A95-EE8D936FF021}" type="presParOf" srcId="{7CA8288A-2525-49CF-91A3-0DEAD755641F}" destId="{C30EC148-8201-462F-90A8-AB3E615F1971}" srcOrd="3" destOrd="0" presId="urn:microsoft.com/office/officeart/2005/8/layout/process1"/>
    <dgm:cxn modelId="{F27D3B8C-82A8-44D3-832B-F07F93652C8F}" type="presParOf" srcId="{C30EC148-8201-462F-90A8-AB3E615F1971}" destId="{261F5806-D290-428B-988E-96A5AD79C8A2}" srcOrd="0" destOrd="0" presId="urn:microsoft.com/office/officeart/2005/8/layout/process1"/>
    <dgm:cxn modelId="{5B89B503-8C75-4E23-B8BC-A67B8DE059D1}" type="presParOf" srcId="{7CA8288A-2525-49CF-91A3-0DEAD755641F}" destId="{7F544F92-DDBB-4EA0-A881-2C3BF558ECE8}" srcOrd="4" destOrd="0" presId="urn:microsoft.com/office/officeart/2005/8/layout/process1"/>
    <dgm:cxn modelId="{CB6DA90A-A532-476C-A3CF-68C71B57A318}" type="presParOf" srcId="{7CA8288A-2525-49CF-91A3-0DEAD755641F}" destId="{9EAD41BA-4D54-4627-BEBB-9577619B18A9}" srcOrd="5" destOrd="0" presId="urn:microsoft.com/office/officeart/2005/8/layout/process1"/>
    <dgm:cxn modelId="{B485701D-B330-4AE0-BB5E-ABE97A26877F}" type="presParOf" srcId="{9EAD41BA-4D54-4627-BEBB-9577619B18A9}" destId="{21D56EF0-0A47-4F49-9F39-198DA75A7323}" srcOrd="0" destOrd="0" presId="urn:microsoft.com/office/officeart/2005/8/layout/process1"/>
    <dgm:cxn modelId="{4F5E45EA-B5D2-489D-97C0-20A9242B808B}" type="presParOf" srcId="{7CA8288A-2525-49CF-91A3-0DEAD755641F}" destId="{39391B51-956A-4AB5-BB17-CD8F574F310B}" srcOrd="6" destOrd="0" presId="urn:microsoft.com/office/officeart/2005/8/layout/process1"/>
    <dgm:cxn modelId="{17A4CE1B-4A91-4049-B3EE-258AAFDC69FF}" type="presParOf" srcId="{7CA8288A-2525-49CF-91A3-0DEAD755641F}" destId="{CFC2C833-FFE6-4C42-A2FA-5454B3E81151}" srcOrd="7" destOrd="0" presId="urn:microsoft.com/office/officeart/2005/8/layout/process1"/>
    <dgm:cxn modelId="{6869776F-4136-414C-9012-BC86451DB1E8}" type="presParOf" srcId="{CFC2C833-FFE6-4C42-A2FA-5454B3E81151}" destId="{E1F1AFCF-0C55-44B6-BC1B-C6FE376A427B}" srcOrd="0" destOrd="0" presId="urn:microsoft.com/office/officeart/2005/8/layout/process1"/>
    <dgm:cxn modelId="{8255E857-6539-43ED-AAC7-115841C9CD87}" type="presParOf" srcId="{7CA8288A-2525-49CF-91A3-0DEAD755641F}" destId="{860C4179-457F-4896-A02E-0183C2625DEA}" srcOrd="8" destOrd="0" presId="urn:microsoft.com/office/officeart/2005/8/layout/process1"/>
    <dgm:cxn modelId="{56ADF3DE-1E35-4D6B-9013-FA06192DC7E4}" type="presParOf" srcId="{7CA8288A-2525-49CF-91A3-0DEAD755641F}" destId="{9D531399-4CAE-4CA2-9296-29B0C30A6521}" srcOrd="9" destOrd="0" presId="urn:microsoft.com/office/officeart/2005/8/layout/process1"/>
    <dgm:cxn modelId="{3C523F2E-DE6F-4BB1-BD6C-5E82FF9F161A}" type="presParOf" srcId="{9D531399-4CAE-4CA2-9296-29B0C30A6521}" destId="{58AC91EF-8017-4555-A883-4255F598F4E3}" srcOrd="0" destOrd="0" presId="urn:microsoft.com/office/officeart/2005/8/layout/process1"/>
    <dgm:cxn modelId="{A4899198-B3F3-4C35-9232-2B94912E9BCF}" type="presParOf" srcId="{7CA8288A-2525-49CF-91A3-0DEAD755641F}" destId="{B0722A25-2ABD-4495-BB6D-F7FC0C566A0E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8F0C5F-793A-4E3E-B2F3-EA814A724B0A}">
      <dsp:nvSpPr>
        <dsp:cNvPr id="0" name=""/>
        <dsp:cNvSpPr/>
      </dsp:nvSpPr>
      <dsp:spPr>
        <a:xfrm>
          <a:off x="0" y="823243"/>
          <a:ext cx="1096280" cy="6577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项目启动</a:t>
          </a:r>
          <a:endParaRPr lang="zh-CN" altLang="en-US" sz="1400" kern="1200" dirty="0"/>
        </a:p>
      </dsp:txBody>
      <dsp:txXfrm>
        <a:off x="19265" y="842508"/>
        <a:ext cx="1057750" cy="619238"/>
      </dsp:txXfrm>
    </dsp:sp>
    <dsp:sp modelId="{893EE6B9-03F5-4476-973F-F508B2BE918B}">
      <dsp:nvSpPr>
        <dsp:cNvPr id="0" name=""/>
        <dsp:cNvSpPr/>
      </dsp:nvSpPr>
      <dsp:spPr>
        <a:xfrm>
          <a:off x="1205908" y="1016189"/>
          <a:ext cx="232411" cy="2718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400" kern="1200"/>
        </a:p>
      </dsp:txBody>
      <dsp:txXfrm>
        <a:off x="1205908" y="1070564"/>
        <a:ext cx="162688" cy="163127"/>
      </dsp:txXfrm>
    </dsp:sp>
    <dsp:sp modelId="{8F8B1A07-F4FF-4D13-85A1-6C6B27D7DEE3}">
      <dsp:nvSpPr>
        <dsp:cNvPr id="0" name=""/>
        <dsp:cNvSpPr/>
      </dsp:nvSpPr>
      <dsp:spPr>
        <a:xfrm>
          <a:off x="1534792" y="823243"/>
          <a:ext cx="1096280" cy="6577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项目执行</a:t>
          </a:r>
          <a:endParaRPr lang="zh-CN" altLang="en-US" sz="1400" kern="1200" dirty="0"/>
        </a:p>
      </dsp:txBody>
      <dsp:txXfrm>
        <a:off x="1554057" y="842508"/>
        <a:ext cx="1057750" cy="619238"/>
      </dsp:txXfrm>
    </dsp:sp>
    <dsp:sp modelId="{C30EC148-8201-462F-90A8-AB3E615F1971}">
      <dsp:nvSpPr>
        <dsp:cNvPr id="0" name=""/>
        <dsp:cNvSpPr/>
      </dsp:nvSpPr>
      <dsp:spPr>
        <a:xfrm>
          <a:off x="2740700" y="1016189"/>
          <a:ext cx="232411" cy="2718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2740700" y="1070564"/>
        <a:ext cx="162688" cy="163127"/>
      </dsp:txXfrm>
    </dsp:sp>
    <dsp:sp modelId="{7F544F92-DDBB-4EA0-A881-2C3BF558ECE8}">
      <dsp:nvSpPr>
        <dsp:cNvPr id="0" name=""/>
        <dsp:cNvSpPr/>
      </dsp:nvSpPr>
      <dsp:spPr>
        <a:xfrm>
          <a:off x="3069585" y="823243"/>
          <a:ext cx="1096280" cy="6577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测试阶段</a:t>
          </a:r>
          <a:endParaRPr lang="zh-CN" altLang="en-US" sz="1400" kern="1200" dirty="0"/>
        </a:p>
      </dsp:txBody>
      <dsp:txXfrm>
        <a:off x="3088850" y="842508"/>
        <a:ext cx="1057750" cy="619238"/>
      </dsp:txXfrm>
    </dsp:sp>
    <dsp:sp modelId="{9EAD41BA-4D54-4627-BEBB-9577619B18A9}">
      <dsp:nvSpPr>
        <dsp:cNvPr id="0" name=""/>
        <dsp:cNvSpPr/>
      </dsp:nvSpPr>
      <dsp:spPr>
        <a:xfrm>
          <a:off x="4275493" y="1016189"/>
          <a:ext cx="232411" cy="2718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4275493" y="1070564"/>
        <a:ext cx="162688" cy="163127"/>
      </dsp:txXfrm>
    </dsp:sp>
    <dsp:sp modelId="{39391B51-956A-4AB5-BB17-CD8F574F310B}">
      <dsp:nvSpPr>
        <dsp:cNvPr id="0" name=""/>
        <dsp:cNvSpPr/>
      </dsp:nvSpPr>
      <dsp:spPr>
        <a:xfrm>
          <a:off x="4604377" y="823243"/>
          <a:ext cx="1096280" cy="6577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部署上线</a:t>
          </a:r>
          <a:endParaRPr lang="zh-CN" altLang="en-US" sz="1400" kern="1200" dirty="0"/>
        </a:p>
      </dsp:txBody>
      <dsp:txXfrm>
        <a:off x="4623642" y="842508"/>
        <a:ext cx="1057750" cy="619238"/>
      </dsp:txXfrm>
    </dsp:sp>
    <dsp:sp modelId="{CFC2C833-FFE6-4C42-A2FA-5454B3E81151}">
      <dsp:nvSpPr>
        <dsp:cNvPr id="0" name=""/>
        <dsp:cNvSpPr/>
      </dsp:nvSpPr>
      <dsp:spPr>
        <a:xfrm>
          <a:off x="5810285" y="1016189"/>
          <a:ext cx="232411" cy="2718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5810285" y="1070564"/>
        <a:ext cx="162688" cy="163127"/>
      </dsp:txXfrm>
    </dsp:sp>
    <dsp:sp modelId="{860C4179-457F-4896-A02E-0183C2625DEA}">
      <dsp:nvSpPr>
        <dsp:cNvPr id="0" name=""/>
        <dsp:cNvSpPr/>
      </dsp:nvSpPr>
      <dsp:spPr>
        <a:xfrm>
          <a:off x="6139170" y="823243"/>
          <a:ext cx="1096280" cy="6577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培训阶段</a:t>
          </a:r>
          <a:endParaRPr lang="zh-CN" altLang="en-US" sz="1400" kern="1200" dirty="0"/>
        </a:p>
      </dsp:txBody>
      <dsp:txXfrm>
        <a:off x="6158435" y="842508"/>
        <a:ext cx="1057750" cy="619238"/>
      </dsp:txXfrm>
    </dsp:sp>
    <dsp:sp modelId="{9D531399-4CAE-4CA2-9296-29B0C30A6521}">
      <dsp:nvSpPr>
        <dsp:cNvPr id="0" name=""/>
        <dsp:cNvSpPr/>
      </dsp:nvSpPr>
      <dsp:spPr>
        <a:xfrm>
          <a:off x="7345078" y="1016189"/>
          <a:ext cx="232411" cy="2718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7345078" y="1070564"/>
        <a:ext cx="162688" cy="163127"/>
      </dsp:txXfrm>
    </dsp:sp>
    <dsp:sp modelId="{B0722A25-2ABD-4495-BB6D-F7FC0C566A0E}">
      <dsp:nvSpPr>
        <dsp:cNvPr id="0" name=""/>
        <dsp:cNvSpPr/>
      </dsp:nvSpPr>
      <dsp:spPr>
        <a:xfrm>
          <a:off x="7673962" y="823243"/>
          <a:ext cx="1096280" cy="6577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系统运维</a:t>
          </a:r>
          <a:endParaRPr lang="zh-CN" altLang="en-US" sz="1400" kern="1200" dirty="0"/>
        </a:p>
      </dsp:txBody>
      <dsp:txXfrm>
        <a:off x="7693227" y="842508"/>
        <a:ext cx="1057750" cy="6192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9.wmf"/><Relationship Id="rId1" Type="http://schemas.openxmlformats.org/officeDocument/2006/relationships/image" Target="../media/image3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11EA65-7FDC-4DA5-8EBB-A5E7563DF954}" type="datetimeFigureOut">
              <a:rPr lang="zh-CN" altLang="en-US" smtClean="0"/>
              <a:t>2018/3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AF53E-4624-4F14-B005-EC5338D8311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7962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72DB3-E96D-43AC-9212-EFD476B54A61}" type="datetimeFigureOut">
              <a:rPr lang="zh-CN" altLang="en-US" smtClean="0"/>
              <a:t>2018/3/13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B34045-D308-4A57-A38B-B1FFFCC95D0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2315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2967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C43D9F-348C-4EFA-BA8C-BCBE316224D1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39971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C43D9F-348C-4EFA-BA8C-BCBE316224D1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4457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78872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2089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71035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2683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5000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6190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7600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0393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C43D9F-348C-4EFA-BA8C-BCBE316224D1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99679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C43D9F-348C-4EFA-BA8C-BCBE316224D1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4556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3.tif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oleObject" Target="../embeddings/oleObject4.bin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image" Target="../media/image4.tiff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oleObject" Target="../embeddings/oleObject5.bin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image" Target="../media/image4.tiff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image" Target="../media/image3.tif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image" Target="../media/image3.tif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024813" y="36513"/>
            <a:ext cx="6572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895350"/>
            <a:endParaRPr lang="cs-CZ" sz="800" b="0">
              <a:solidFill>
                <a:srgbClr val="000000"/>
              </a:solidFill>
            </a:endParaRPr>
          </a:p>
        </p:txBody>
      </p:sp>
      <p:grpSp>
        <p:nvGrpSpPr>
          <p:cNvPr id="6" name="McK 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69900" y="3343275"/>
            <a:ext cx="6300788" cy="514350"/>
            <a:chOff x="296" y="2106"/>
            <a:chExt cx="3969" cy="324"/>
          </a:xfrm>
        </p:grpSpPr>
        <p:sp>
          <p:nvSpPr>
            <p:cNvPr id="7" name="McK Document type" hidden="1"/>
            <p:cNvSpPr txBox="1">
              <a:spLocks noChangeArrowheads="1"/>
            </p:cNvSpPr>
            <p:nvPr/>
          </p:nvSpPr>
          <p:spPr bwMode="gray">
            <a:xfrm>
              <a:off x="296" y="2106"/>
              <a:ext cx="396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600" b="0" dirty="0">
                  <a:solidFill>
                    <a:schemeClr val="tx1"/>
                  </a:solidFill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/>
          </p:nvSpPr>
          <p:spPr bwMode="gray">
            <a:xfrm>
              <a:off x="296" y="2276"/>
              <a:ext cx="396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600" b="0" dirty="0">
                  <a:solidFill>
                    <a:schemeClr val="tx1"/>
                  </a:solidFill>
                </a:rPr>
                <a:t>Date</a:t>
              </a:r>
            </a:p>
          </p:txBody>
        </p:sp>
      </p:grpSp>
      <p:sp>
        <p:nvSpPr>
          <p:cNvPr id="24579" name="Title Placeholder 1"/>
          <p:cNvSpPr>
            <a:spLocks noGrp="1"/>
          </p:cNvSpPr>
          <p:nvPr>
            <p:ph type="ctrTitle"/>
          </p:nvPr>
        </p:nvSpPr>
        <p:spPr>
          <a:xfrm>
            <a:off x="469900" y="1250950"/>
            <a:ext cx="8191500" cy="396875"/>
          </a:xfrm>
        </p:spPr>
        <p:txBody>
          <a:bodyPr/>
          <a:lstStyle>
            <a:lvl1pPr>
              <a:lnSpc>
                <a:spcPct val="100000"/>
              </a:lnSpc>
              <a:defRPr sz="26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 smtClean="0"/>
          </a:p>
        </p:txBody>
      </p:sp>
      <p:sp>
        <p:nvSpPr>
          <p:cNvPr id="24580" name="Text Placeholder 2"/>
          <p:cNvSpPr>
            <a:spLocks noGrp="1"/>
          </p:cNvSpPr>
          <p:nvPr>
            <p:ph type="subTitle" idx="1"/>
          </p:nvPr>
        </p:nvSpPr>
        <p:spPr>
          <a:xfrm>
            <a:off x="469900" y="2357438"/>
            <a:ext cx="6392863" cy="274637"/>
          </a:xfrm>
          <a:ln/>
        </p:spPr>
        <p:txBody>
          <a:bodyPr anchor="ctr">
            <a:spAutoFit/>
          </a:bodyPr>
          <a:lstStyle>
            <a:lvl1pPr>
              <a:defRPr sz="1800" smtClean="0">
                <a:latin typeface="Arial" pitchFamily="34" charset="0"/>
              </a:defRPr>
            </a:lvl1pPr>
          </a:lstStyle>
          <a:p>
            <a:r>
              <a:rPr lang="en-US" altLang="zh-CN" smtClean="0"/>
              <a:t>Click to edit Master subtitle style</a:t>
            </a:r>
            <a:endParaRPr lang="en-US" smtClean="0"/>
          </a:p>
        </p:txBody>
      </p:sp>
      <p:sp>
        <p:nvSpPr>
          <p:cNvPr id="11" name="pg num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130" name="Picture 82" descr="C:\Users\orange.zhou\Desktop\Corporate VI format\2017\02_Qoros Logo\QorosLogo_New_RGB-01.ti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628" y="0"/>
            <a:ext cx="999410" cy="1064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8"/>
          <p:cNvCxnSpPr/>
          <p:nvPr userDrawn="1"/>
        </p:nvCxnSpPr>
        <p:spPr>
          <a:xfrm>
            <a:off x="363538" y="1003300"/>
            <a:ext cx="7091362" cy="0"/>
          </a:xfrm>
          <a:prstGeom prst="line">
            <a:avLst/>
          </a:prstGeom>
          <a:ln w="6350" cmpd="sng">
            <a:solidFill>
              <a:srgbClr val="8B0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8656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1817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469900" y="4729163"/>
            <a:ext cx="7667625" cy="352425"/>
            <a:chOff x="296" y="2979"/>
            <a:chExt cx="4830" cy="222"/>
          </a:xfrm>
        </p:grpSpPr>
        <p:sp>
          <p:nvSpPr>
            <p:cNvPr id="6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96" y="2979"/>
              <a:ext cx="4830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000" b="0" dirty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7" name="McK 5. Source" hidden="1"/>
            <p:cNvSpPr>
              <a:spLocks noChangeArrowheads="1"/>
            </p:cNvSpPr>
            <p:nvPr userDrawn="1"/>
          </p:nvSpPr>
          <p:spPr bwMode="gray">
            <a:xfrm>
              <a:off x="296" y="3105"/>
              <a:ext cx="4830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tabLst>
                  <a:tab pos="487363" algn="l"/>
                </a:tabLst>
              </a:pPr>
              <a:r>
                <a:rPr lang="en-US" altLang="zh-CN" sz="1000" b="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3075" y="635000"/>
            <a:ext cx="61896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altLang="zh-CN" dirty="0">
                <a:solidFill>
                  <a:srgbClr val="808080"/>
                </a:solidFill>
              </a:rPr>
              <a:t>Subtitle or Unit of measure, when both Unit of measure goes into 2nd line</a:t>
            </a:r>
          </a:p>
        </p:txBody>
      </p:sp>
      <p:sp>
        <p:nvSpPr>
          <p:cNvPr id="9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3075" y="58738"/>
            <a:ext cx="850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b="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0" name="LegendBoxes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829550" y="746125"/>
            <a:ext cx="842963" cy="976313"/>
            <a:chOff x="3394" y="519"/>
            <a:chExt cx="531" cy="615"/>
          </a:xfrm>
        </p:grpSpPr>
        <p:sp>
          <p:nvSpPr>
            <p:cNvPr id="11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2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3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4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5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16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17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18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19" name="LegendLines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512050" y="746125"/>
            <a:ext cx="1160463" cy="706438"/>
            <a:chOff x="2411" y="2750"/>
            <a:chExt cx="731" cy="445"/>
          </a:xfrm>
        </p:grpSpPr>
        <p:sp>
          <p:nvSpPr>
            <p:cNvPr id="20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24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25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26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935038" y="1417638"/>
            <a:ext cx="4264025" cy="508000"/>
            <a:chOff x="915" y="710"/>
            <a:chExt cx="2686" cy="320"/>
          </a:xfrm>
        </p:grpSpPr>
        <p:cxnSp>
          <p:nvCxnSpPr>
            <p:cNvPr id="27" name="AutoShape 53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8" name="AutoShape 54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9" name="Sticker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7578725" y="746125"/>
            <a:ext cx="1093788" cy="209550"/>
            <a:chOff x="4817" y="376"/>
            <a:chExt cx="689" cy="132"/>
          </a:xfrm>
        </p:grpSpPr>
        <p:cxnSp>
          <p:nvCxnSpPr>
            <p:cNvPr id="30" name="AutoShape 56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" name="AutoShape 57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b="0" dirty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32" name="AutoShape 58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813675" y="746125"/>
            <a:ext cx="858838" cy="1233488"/>
            <a:chOff x="4922" y="1053"/>
            <a:chExt cx="541" cy="777"/>
          </a:xfrm>
        </p:grpSpPr>
        <p:grpSp>
          <p:nvGrpSpPr>
            <p:cNvPr id="34" name="MoonLegend1" hidden="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4922" y="1055"/>
              <a:ext cx="112" cy="112"/>
              <a:chOff x="4533" y="183"/>
              <a:chExt cx="144" cy="144"/>
            </a:xfrm>
          </p:grpSpPr>
          <p:sp>
            <p:nvSpPr>
              <p:cNvPr id="52" name="Oval 33" hidden="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53" name="Arc 34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72 w 43200"/>
                  <a:gd name="T1" fmla="*/ 0 h 43200"/>
                  <a:gd name="T2" fmla="*/ 72 w 43200"/>
                  <a:gd name="T3" fmla="*/ 0 h 43200"/>
                  <a:gd name="T4" fmla="*/ 72 w 43200"/>
                  <a:gd name="T5" fmla="*/ 72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sp>
          <p:nvSpPr>
            <p:cNvPr id="35" name="Legend1" hidden="1"/>
            <p:cNvSpPr>
              <a:spLocks noChangeArrowheads="1"/>
            </p:cNvSpPr>
            <p:nvPr/>
          </p:nvSpPr>
          <p:spPr bwMode="gray">
            <a:xfrm>
              <a:off x="5092" y="1053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36" name="Legend2" hidden="1"/>
            <p:cNvSpPr>
              <a:spLocks noChangeArrowheads="1"/>
            </p:cNvSpPr>
            <p:nvPr/>
          </p:nvSpPr>
          <p:spPr bwMode="gray">
            <a:xfrm>
              <a:off x="5092" y="1218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37" name="Legend3" hidden="1"/>
            <p:cNvSpPr>
              <a:spLocks noChangeArrowheads="1"/>
            </p:cNvSpPr>
            <p:nvPr/>
          </p:nvSpPr>
          <p:spPr bwMode="gray">
            <a:xfrm>
              <a:off x="5092" y="1383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38" name="Legend4" hidden="1"/>
            <p:cNvSpPr>
              <a:spLocks noChangeArrowheads="1"/>
            </p:cNvSpPr>
            <p:nvPr/>
          </p:nvSpPr>
          <p:spPr bwMode="gray">
            <a:xfrm>
              <a:off x="5092" y="1550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39" name="Legend5" hidden="1"/>
            <p:cNvSpPr>
              <a:spLocks noChangeArrowheads="1"/>
            </p:cNvSpPr>
            <p:nvPr/>
          </p:nvSpPr>
          <p:spPr bwMode="gray">
            <a:xfrm>
              <a:off x="5092" y="1715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5</a:t>
              </a:r>
            </a:p>
          </p:txBody>
        </p:sp>
        <p:grpSp>
          <p:nvGrpSpPr>
            <p:cNvPr id="40" name="MoonLegend2" hidden="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4922" y="1220"/>
              <a:ext cx="112" cy="112"/>
              <a:chOff x="4922" y="1182"/>
              <a:chExt cx="112" cy="112"/>
            </a:xfrm>
          </p:grpSpPr>
          <p:sp>
            <p:nvSpPr>
              <p:cNvPr id="50" name="Oval 92" hidden="1"/>
              <p:cNvSpPr>
                <a:spLocks noChangeAspect="1" noChangeArrowheads="1"/>
              </p:cNvSpPr>
              <p:nvPr userDrawn="1">
                <p:custDataLst>
                  <p:tags r:id="rId21"/>
                </p:custDataLst>
              </p:nvPr>
            </p:nvSpPr>
            <p:spPr bwMode="gray">
              <a:xfrm>
                <a:off x="4922" y="1182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51" name="Arc 93" hidden="1"/>
              <p:cNvSpPr>
                <a:spLocks noChangeAspect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978" y="1182"/>
                <a:ext cx="56" cy="56"/>
              </a:xfrm>
              <a:custGeom>
                <a:avLst/>
                <a:gdLst>
                  <a:gd name="T0" fmla="*/ 0 w 21600"/>
                  <a:gd name="T1" fmla="*/ 0 h 21600"/>
                  <a:gd name="T2" fmla="*/ 56 w 21600"/>
                  <a:gd name="T3" fmla="*/ 56 h 21600"/>
                  <a:gd name="T4" fmla="*/ 0 w 21600"/>
                  <a:gd name="T5" fmla="*/ 56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grpSp>
          <p:nvGrpSpPr>
            <p:cNvPr id="41" name="MoonLegend3" hidden="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4922" y="1385"/>
              <a:ext cx="112" cy="112"/>
              <a:chOff x="4922" y="1397"/>
              <a:chExt cx="112" cy="112"/>
            </a:xfrm>
          </p:grpSpPr>
          <p:sp>
            <p:nvSpPr>
              <p:cNvPr id="48" name="Oval 96" hidden="1"/>
              <p:cNvSpPr>
                <a:spLocks noChangeAspect="1" noChangeArrowheads="1"/>
              </p:cNvSpPr>
              <p:nvPr userDrawn="1">
                <p:custDataLst>
                  <p:tags r:id="rId19"/>
                </p:custDataLst>
              </p:nvPr>
            </p:nvSpPr>
            <p:spPr bwMode="gray">
              <a:xfrm>
                <a:off x="4922" y="139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49" name="Arc 97" hidden="1"/>
              <p:cNvSpPr>
                <a:spLocks noChangeAspect="1"/>
              </p:cNvSpPr>
              <p:nvPr userDrawn="1">
                <p:custDataLst>
                  <p:tags r:id="rId20"/>
                </p:custDataLst>
              </p:nvPr>
            </p:nvSpPr>
            <p:spPr bwMode="gray">
              <a:xfrm>
                <a:off x="4978" y="1397"/>
                <a:ext cx="56" cy="11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112 h 43200"/>
                  <a:gd name="T4" fmla="*/ 0 w 21600"/>
                  <a:gd name="T5" fmla="*/ 56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grpSp>
          <p:nvGrpSpPr>
            <p:cNvPr id="42" name="MoonLegend4" hidden="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4922" y="1550"/>
              <a:ext cx="112" cy="112"/>
              <a:chOff x="4922" y="1537"/>
              <a:chExt cx="112" cy="112"/>
            </a:xfrm>
          </p:grpSpPr>
          <p:sp>
            <p:nvSpPr>
              <p:cNvPr id="46" name="Oval 100" hidden="1"/>
              <p:cNvSpPr>
                <a:spLocks noChangeAspect="1" noChangeArrowheads="1"/>
              </p:cNvSpPr>
              <p:nvPr userDrawn="1">
                <p:custDataLst>
                  <p:tags r:id="rId17"/>
                </p:custDataLst>
              </p:nvPr>
            </p:nvSpPr>
            <p:spPr bwMode="gray">
              <a:xfrm>
                <a:off x="4922" y="153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47" name="Arc 101" hidden="1"/>
              <p:cNvSpPr>
                <a:spLocks noChangeAspect="1"/>
              </p:cNvSpPr>
              <p:nvPr userDrawn="1">
                <p:custDataLst>
                  <p:tags r:id="rId18"/>
                </p:custDataLst>
              </p:nvPr>
            </p:nvSpPr>
            <p:spPr bwMode="gray">
              <a:xfrm>
                <a:off x="4922" y="1537"/>
                <a:ext cx="112" cy="112"/>
              </a:xfrm>
              <a:custGeom>
                <a:avLst/>
                <a:gdLst>
                  <a:gd name="T0" fmla="*/ 56 w 43200"/>
                  <a:gd name="T1" fmla="*/ 0 h 43200"/>
                  <a:gd name="T2" fmla="*/ 0 w 43200"/>
                  <a:gd name="T3" fmla="*/ 56 h 43200"/>
                  <a:gd name="T4" fmla="*/ 56 w 43200"/>
                  <a:gd name="T5" fmla="*/ 56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grpSp>
          <p:nvGrpSpPr>
            <p:cNvPr id="43" name="MoonLegend5" hidden="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4922" y="1716"/>
              <a:ext cx="112" cy="112"/>
              <a:chOff x="4922" y="1657"/>
              <a:chExt cx="112" cy="112"/>
            </a:xfrm>
          </p:grpSpPr>
          <p:sp>
            <p:nvSpPr>
              <p:cNvPr id="44" name="Oval 104" hidden="1"/>
              <p:cNvSpPr>
                <a:spLocks noChangeAspect="1" noChangeArrowheads="1"/>
              </p:cNvSpPr>
              <p:nvPr userDrawn="1">
                <p:custDataLst>
                  <p:tags r:id="rId15"/>
                </p:custDataLst>
              </p:nvPr>
            </p:nvSpPr>
            <p:spPr bwMode="gray">
              <a:xfrm>
                <a:off x="4922" y="165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45" name="Oval 105" hidden="1"/>
              <p:cNvSpPr>
                <a:spLocks noChangeAspect="1" noChangeArrowheads="1"/>
              </p:cNvSpPr>
              <p:nvPr userDrawn="1">
                <p:custDataLst>
                  <p:tags r:id="rId16"/>
                </p:custDataLst>
              </p:nvPr>
            </p:nvSpPr>
            <p:spPr bwMode="gray">
              <a:xfrm>
                <a:off x="4922" y="1657"/>
                <a:ext cx="112" cy="11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075" y="264964"/>
            <a:ext cx="7304088" cy="304800"/>
          </a:xfrm>
        </p:spPr>
        <p:txBody>
          <a:bodyPr/>
          <a:lstStyle/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55" name="pg num"/>
          <p:cNvSpPr>
            <a:spLocks noGrp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7" name="Content Placeholder 56"/>
          <p:cNvSpPr>
            <a:spLocks noGrp="1"/>
          </p:cNvSpPr>
          <p:nvPr>
            <p:ph sz="quarter" idx="11"/>
          </p:nvPr>
        </p:nvSpPr>
        <p:spPr>
          <a:xfrm>
            <a:off x="468312" y="987425"/>
            <a:ext cx="6767983" cy="914400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pic>
        <p:nvPicPr>
          <p:cNvPr id="56" name="Picture 82" descr="C:\Users\orange.zhou\Desktop\Corporate VI format\2017\02_Qoros Logo\QorosLogo_New_RGB-01.tif"/>
          <p:cNvPicPr>
            <a:picLocks noChangeAspect="1"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672" y="0"/>
            <a:ext cx="823278" cy="876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9701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1570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469900" y="4729163"/>
            <a:ext cx="7667625" cy="352425"/>
            <a:chOff x="296" y="2979"/>
            <a:chExt cx="4830" cy="222"/>
          </a:xfrm>
        </p:grpSpPr>
        <p:sp>
          <p:nvSpPr>
            <p:cNvPr id="6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96" y="2979"/>
              <a:ext cx="4830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000" b="0" dirty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7" name="McK 5. Source" hidden="1"/>
            <p:cNvSpPr>
              <a:spLocks noChangeArrowheads="1"/>
            </p:cNvSpPr>
            <p:nvPr userDrawn="1"/>
          </p:nvSpPr>
          <p:spPr bwMode="gray">
            <a:xfrm>
              <a:off x="296" y="3105"/>
              <a:ext cx="4830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tabLst>
                  <a:tab pos="487363" algn="l"/>
                </a:tabLst>
              </a:pPr>
              <a:r>
                <a:rPr lang="en-US" altLang="zh-CN" sz="1000" b="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3075" y="635000"/>
            <a:ext cx="61896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altLang="zh-CN" dirty="0">
                <a:solidFill>
                  <a:srgbClr val="808080"/>
                </a:solidFill>
              </a:rPr>
              <a:t>Subtitle or Unit of measure, when both Unit of measure goes into 2nd line</a:t>
            </a:r>
          </a:p>
        </p:txBody>
      </p:sp>
      <p:sp>
        <p:nvSpPr>
          <p:cNvPr id="9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3075" y="58738"/>
            <a:ext cx="850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b="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0" name="LegendBoxes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829550" y="746125"/>
            <a:ext cx="842963" cy="976313"/>
            <a:chOff x="3394" y="519"/>
            <a:chExt cx="531" cy="615"/>
          </a:xfrm>
        </p:grpSpPr>
        <p:sp>
          <p:nvSpPr>
            <p:cNvPr id="11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2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3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4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en-US" dirty="0"/>
            </a:p>
          </p:txBody>
        </p:sp>
        <p:sp>
          <p:nvSpPr>
            <p:cNvPr id="15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16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17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18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19" name="LegendLines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512050" y="746125"/>
            <a:ext cx="1160463" cy="706438"/>
            <a:chOff x="2411" y="2750"/>
            <a:chExt cx="731" cy="445"/>
          </a:xfrm>
        </p:grpSpPr>
        <p:sp>
          <p:nvSpPr>
            <p:cNvPr id="20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24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25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26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935038" y="1417638"/>
            <a:ext cx="4264025" cy="508000"/>
            <a:chOff x="915" y="710"/>
            <a:chExt cx="2686" cy="320"/>
          </a:xfrm>
        </p:grpSpPr>
        <p:cxnSp>
          <p:nvCxnSpPr>
            <p:cNvPr id="27" name="AutoShape 53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8" name="AutoShape 54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en-US" sz="1600" dirty="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9" name="Sticker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7578725" y="746125"/>
            <a:ext cx="1093788" cy="209550"/>
            <a:chOff x="4817" y="376"/>
            <a:chExt cx="689" cy="132"/>
          </a:xfrm>
        </p:grpSpPr>
        <p:cxnSp>
          <p:nvCxnSpPr>
            <p:cNvPr id="30" name="AutoShape 56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" name="AutoShape 57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b="0" dirty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32" name="AutoShape 58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813675" y="746125"/>
            <a:ext cx="858838" cy="1233488"/>
            <a:chOff x="4922" y="1053"/>
            <a:chExt cx="541" cy="777"/>
          </a:xfrm>
        </p:grpSpPr>
        <p:grpSp>
          <p:nvGrpSpPr>
            <p:cNvPr id="34" name="MoonLegend1" hidden="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4922" y="1055"/>
              <a:ext cx="112" cy="112"/>
              <a:chOff x="4533" y="183"/>
              <a:chExt cx="144" cy="144"/>
            </a:xfrm>
          </p:grpSpPr>
          <p:sp>
            <p:nvSpPr>
              <p:cNvPr id="52" name="Oval 33" hidden="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53" name="Arc 34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72 w 43200"/>
                  <a:gd name="T1" fmla="*/ 0 h 43200"/>
                  <a:gd name="T2" fmla="*/ 72 w 43200"/>
                  <a:gd name="T3" fmla="*/ 0 h 43200"/>
                  <a:gd name="T4" fmla="*/ 72 w 43200"/>
                  <a:gd name="T5" fmla="*/ 72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sp>
          <p:nvSpPr>
            <p:cNvPr id="35" name="Legend1" hidden="1"/>
            <p:cNvSpPr>
              <a:spLocks noChangeArrowheads="1"/>
            </p:cNvSpPr>
            <p:nvPr/>
          </p:nvSpPr>
          <p:spPr bwMode="gray">
            <a:xfrm>
              <a:off x="5092" y="1053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36" name="Legend2" hidden="1"/>
            <p:cNvSpPr>
              <a:spLocks noChangeArrowheads="1"/>
            </p:cNvSpPr>
            <p:nvPr/>
          </p:nvSpPr>
          <p:spPr bwMode="gray">
            <a:xfrm>
              <a:off x="5092" y="1218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37" name="Legend3" hidden="1"/>
            <p:cNvSpPr>
              <a:spLocks noChangeArrowheads="1"/>
            </p:cNvSpPr>
            <p:nvPr/>
          </p:nvSpPr>
          <p:spPr bwMode="gray">
            <a:xfrm>
              <a:off x="5092" y="1383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38" name="Legend4" hidden="1"/>
            <p:cNvSpPr>
              <a:spLocks noChangeArrowheads="1"/>
            </p:cNvSpPr>
            <p:nvPr/>
          </p:nvSpPr>
          <p:spPr bwMode="gray">
            <a:xfrm>
              <a:off x="5092" y="1550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39" name="Legend5" hidden="1"/>
            <p:cNvSpPr>
              <a:spLocks noChangeArrowheads="1"/>
            </p:cNvSpPr>
            <p:nvPr/>
          </p:nvSpPr>
          <p:spPr bwMode="gray">
            <a:xfrm>
              <a:off x="5092" y="1715"/>
              <a:ext cx="371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Legend5</a:t>
              </a:r>
            </a:p>
          </p:txBody>
        </p:sp>
        <p:grpSp>
          <p:nvGrpSpPr>
            <p:cNvPr id="40" name="MoonLegend2" hidden="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4922" y="1220"/>
              <a:ext cx="112" cy="112"/>
              <a:chOff x="4922" y="1182"/>
              <a:chExt cx="112" cy="112"/>
            </a:xfrm>
          </p:grpSpPr>
          <p:sp>
            <p:nvSpPr>
              <p:cNvPr id="50" name="Oval 92" hidden="1"/>
              <p:cNvSpPr>
                <a:spLocks noChangeAspect="1" noChangeArrowheads="1"/>
              </p:cNvSpPr>
              <p:nvPr userDrawn="1">
                <p:custDataLst>
                  <p:tags r:id="rId21"/>
                </p:custDataLst>
              </p:nvPr>
            </p:nvSpPr>
            <p:spPr bwMode="gray">
              <a:xfrm>
                <a:off x="4922" y="1182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51" name="Arc 93" hidden="1"/>
              <p:cNvSpPr>
                <a:spLocks noChangeAspect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978" y="1182"/>
                <a:ext cx="56" cy="56"/>
              </a:xfrm>
              <a:custGeom>
                <a:avLst/>
                <a:gdLst>
                  <a:gd name="T0" fmla="*/ 0 w 21600"/>
                  <a:gd name="T1" fmla="*/ 0 h 21600"/>
                  <a:gd name="T2" fmla="*/ 56 w 21600"/>
                  <a:gd name="T3" fmla="*/ 56 h 21600"/>
                  <a:gd name="T4" fmla="*/ 0 w 21600"/>
                  <a:gd name="T5" fmla="*/ 56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grpSp>
          <p:nvGrpSpPr>
            <p:cNvPr id="41" name="MoonLegend3" hidden="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4922" y="1385"/>
              <a:ext cx="112" cy="112"/>
              <a:chOff x="4922" y="1397"/>
              <a:chExt cx="112" cy="112"/>
            </a:xfrm>
          </p:grpSpPr>
          <p:sp>
            <p:nvSpPr>
              <p:cNvPr id="48" name="Oval 96" hidden="1"/>
              <p:cNvSpPr>
                <a:spLocks noChangeAspect="1" noChangeArrowheads="1"/>
              </p:cNvSpPr>
              <p:nvPr userDrawn="1">
                <p:custDataLst>
                  <p:tags r:id="rId19"/>
                </p:custDataLst>
              </p:nvPr>
            </p:nvSpPr>
            <p:spPr bwMode="gray">
              <a:xfrm>
                <a:off x="4922" y="139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49" name="Arc 97" hidden="1"/>
              <p:cNvSpPr>
                <a:spLocks noChangeAspect="1"/>
              </p:cNvSpPr>
              <p:nvPr userDrawn="1">
                <p:custDataLst>
                  <p:tags r:id="rId20"/>
                </p:custDataLst>
              </p:nvPr>
            </p:nvSpPr>
            <p:spPr bwMode="gray">
              <a:xfrm>
                <a:off x="4978" y="1397"/>
                <a:ext cx="56" cy="11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112 h 43200"/>
                  <a:gd name="T4" fmla="*/ 0 w 21600"/>
                  <a:gd name="T5" fmla="*/ 56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grpSp>
          <p:nvGrpSpPr>
            <p:cNvPr id="42" name="MoonLegend4" hidden="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4922" y="1550"/>
              <a:ext cx="112" cy="112"/>
              <a:chOff x="4922" y="1537"/>
              <a:chExt cx="112" cy="112"/>
            </a:xfrm>
          </p:grpSpPr>
          <p:sp>
            <p:nvSpPr>
              <p:cNvPr id="46" name="Oval 100" hidden="1"/>
              <p:cNvSpPr>
                <a:spLocks noChangeAspect="1" noChangeArrowheads="1"/>
              </p:cNvSpPr>
              <p:nvPr userDrawn="1">
                <p:custDataLst>
                  <p:tags r:id="rId17"/>
                </p:custDataLst>
              </p:nvPr>
            </p:nvSpPr>
            <p:spPr bwMode="gray">
              <a:xfrm>
                <a:off x="4922" y="153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47" name="Arc 101" hidden="1"/>
              <p:cNvSpPr>
                <a:spLocks noChangeAspect="1"/>
              </p:cNvSpPr>
              <p:nvPr userDrawn="1">
                <p:custDataLst>
                  <p:tags r:id="rId18"/>
                </p:custDataLst>
              </p:nvPr>
            </p:nvSpPr>
            <p:spPr bwMode="gray">
              <a:xfrm>
                <a:off x="4922" y="1537"/>
                <a:ext cx="112" cy="112"/>
              </a:xfrm>
              <a:custGeom>
                <a:avLst/>
                <a:gdLst>
                  <a:gd name="T0" fmla="*/ 56 w 43200"/>
                  <a:gd name="T1" fmla="*/ 0 h 43200"/>
                  <a:gd name="T2" fmla="*/ 0 w 43200"/>
                  <a:gd name="T3" fmla="*/ 56 h 43200"/>
                  <a:gd name="T4" fmla="*/ 56 w 43200"/>
                  <a:gd name="T5" fmla="*/ 56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  <p:grpSp>
          <p:nvGrpSpPr>
            <p:cNvPr id="43" name="MoonLegend5" hidden="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4922" y="1716"/>
              <a:ext cx="112" cy="112"/>
              <a:chOff x="4922" y="1657"/>
              <a:chExt cx="112" cy="112"/>
            </a:xfrm>
          </p:grpSpPr>
          <p:sp>
            <p:nvSpPr>
              <p:cNvPr id="44" name="Oval 104" hidden="1"/>
              <p:cNvSpPr>
                <a:spLocks noChangeAspect="1" noChangeArrowheads="1"/>
              </p:cNvSpPr>
              <p:nvPr userDrawn="1">
                <p:custDataLst>
                  <p:tags r:id="rId15"/>
                </p:custDataLst>
              </p:nvPr>
            </p:nvSpPr>
            <p:spPr bwMode="gray">
              <a:xfrm>
                <a:off x="4922" y="165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  <p:sp>
            <p:nvSpPr>
              <p:cNvPr id="45" name="Oval 105" hidden="1"/>
              <p:cNvSpPr>
                <a:spLocks noChangeAspect="1" noChangeArrowheads="1"/>
              </p:cNvSpPr>
              <p:nvPr userDrawn="1">
                <p:custDataLst>
                  <p:tags r:id="rId16"/>
                </p:custDataLst>
              </p:nvPr>
            </p:nvSpPr>
            <p:spPr bwMode="gray">
              <a:xfrm>
                <a:off x="4922" y="1657"/>
                <a:ext cx="112" cy="11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075" y="264964"/>
            <a:ext cx="7304088" cy="304800"/>
          </a:xfrm>
        </p:spPr>
        <p:txBody>
          <a:bodyPr/>
          <a:lstStyle/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55" name="pg num"/>
          <p:cNvSpPr>
            <a:spLocks noGrp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7" name="Content Placeholder 56"/>
          <p:cNvSpPr>
            <a:spLocks noGrp="1"/>
          </p:cNvSpPr>
          <p:nvPr>
            <p:ph sz="quarter" idx="11"/>
          </p:nvPr>
        </p:nvSpPr>
        <p:spPr>
          <a:xfrm>
            <a:off x="468312" y="987425"/>
            <a:ext cx="6767983" cy="914400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pic>
        <p:nvPicPr>
          <p:cNvPr id="56" name="Picture 82" descr="C:\Users\orange.zhou\Desktop\Corporate VI format\2017\02_Qoros Logo\QorosLogo_New_RGB-01.tif"/>
          <p:cNvPicPr>
            <a:picLocks noChangeAspect="1"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672" y="0"/>
            <a:ext cx="823278" cy="876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253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31419"/>
          </a:xfrm>
        </p:spPr>
        <p:txBody>
          <a:bodyPr>
            <a:normAutofit/>
          </a:bodyPr>
          <a:lstStyle>
            <a:lvl1pPr algn="l">
              <a:defRPr sz="2400"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055772"/>
            <a:ext cx="8229600" cy="3394472"/>
          </a:xfrm>
        </p:spPr>
        <p:txBody>
          <a:bodyPr>
            <a:normAutofit/>
          </a:bodyPr>
          <a:lstStyle>
            <a:lvl1pPr>
              <a:defRPr sz="2000">
                <a:latin typeface="Microsoft YaHei" charset="-122"/>
                <a:ea typeface="Microsoft YaHei" charset="-122"/>
                <a:cs typeface="Microsoft YaHei" charset="-122"/>
              </a:defRPr>
            </a:lvl1pPr>
            <a:lvl2pPr>
              <a:defRPr sz="1800">
                <a:latin typeface="Microsoft YaHei" charset="-122"/>
                <a:ea typeface="Microsoft YaHei" charset="-122"/>
                <a:cs typeface="Microsoft YaHei" charset="-122"/>
              </a:defRPr>
            </a:lvl2pPr>
            <a:lvl3pPr>
              <a:defRPr sz="1600">
                <a:latin typeface="Microsoft YaHei" charset="-122"/>
                <a:ea typeface="Microsoft YaHei" charset="-122"/>
                <a:cs typeface="Microsoft YaHei" charset="-122"/>
              </a:defRPr>
            </a:lvl3pPr>
            <a:lvl4pPr>
              <a:defRPr sz="1400">
                <a:latin typeface="Microsoft YaHei" charset="-122"/>
                <a:ea typeface="Microsoft YaHei" charset="-122"/>
                <a:cs typeface="Microsoft YaHei" charset="-122"/>
              </a:defRPr>
            </a:lvl4pPr>
            <a:lvl5pPr>
              <a:defRPr sz="1400">
                <a:latin typeface="Microsoft YaHei" charset="-122"/>
                <a:ea typeface="Microsoft YaHei" charset="-122"/>
                <a:cs typeface="Microsoft YaHei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  <a:p>
            <a:pPr lvl="1"/>
            <a:r>
              <a:rPr kumimoji="1" lang="zh-CN" altLang="en-US" dirty="0"/>
              <a:t>二级</a:t>
            </a:r>
          </a:p>
          <a:p>
            <a:pPr lvl="2"/>
            <a:r>
              <a:rPr kumimoji="1" lang="zh-CN" altLang="en-US" dirty="0"/>
              <a:t>三级</a:t>
            </a:r>
          </a:p>
          <a:p>
            <a:pPr lvl="3"/>
            <a:r>
              <a:rPr kumimoji="1" lang="zh-CN" altLang="en-US" dirty="0"/>
              <a:t>四级</a:t>
            </a:r>
          </a:p>
          <a:p>
            <a:pPr lvl="4"/>
            <a:r>
              <a:rPr kumimoji="1" lang="zh-CN" altLang="en-US" dirty="0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E5599C3E-AF09-5C45-A92C-6BA4F4162445}" type="datetimeFigureOut">
              <a:rPr kumimoji="1" lang="zh-CN" altLang="en-US" smtClean="0"/>
              <a:pPr/>
              <a:t>2018/3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24C872E5-762C-D84A-83A6-E1C88762B9F9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60963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c id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024813" y="36513"/>
            <a:ext cx="6572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895350"/>
            <a:endParaRPr lang="cs-CZ" sz="800" b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469900" y="3343275"/>
            <a:ext cx="6300788" cy="514350"/>
            <a:chOff x="296" y="2106"/>
            <a:chExt cx="3969" cy="324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gray">
            <a:xfrm>
              <a:off x="296" y="2106"/>
              <a:ext cx="396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600" b="0" dirty="0">
                  <a:solidFill>
                    <a:schemeClr val="tx1"/>
                  </a:solidFill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gray">
            <a:xfrm>
              <a:off x="296" y="2276"/>
              <a:ext cx="396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600" b="0" dirty="0">
                  <a:solidFill>
                    <a:schemeClr val="tx1"/>
                  </a:solidFill>
                </a:rPr>
                <a:t>Date</a:t>
              </a:r>
            </a:p>
          </p:txBody>
        </p:sp>
      </p:grpSp>
      <p:sp>
        <p:nvSpPr>
          <p:cNvPr id="12" name="Title Placeholder 1"/>
          <p:cNvSpPr>
            <a:spLocks noGrp="1"/>
          </p:cNvSpPr>
          <p:nvPr>
            <p:ph type="ctrTitle"/>
          </p:nvPr>
        </p:nvSpPr>
        <p:spPr>
          <a:xfrm>
            <a:off x="469900" y="1250950"/>
            <a:ext cx="8191500" cy="396875"/>
          </a:xfrm>
        </p:spPr>
        <p:txBody>
          <a:bodyPr/>
          <a:lstStyle>
            <a:lvl1pPr>
              <a:lnSpc>
                <a:spcPct val="100000"/>
              </a:lnSpc>
              <a:defRPr sz="26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</p:nvPr>
        </p:nvSpPr>
        <p:spPr>
          <a:xfrm>
            <a:off x="469900" y="2357438"/>
            <a:ext cx="6392863" cy="274637"/>
          </a:xfrm>
          <a:ln/>
        </p:spPr>
        <p:txBody>
          <a:bodyPr anchor="ctr">
            <a:spAutoFit/>
          </a:bodyPr>
          <a:lstStyle>
            <a:lvl1pPr>
              <a:defRPr sz="1800" smtClean="0">
                <a:latin typeface="Arial" pitchFamily="34" charset="0"/>
              </a:defRPr>
            </a:lvl1pPr>
          </a:lstStyle>
          <a:p>
            <a:r>
              <a:rPr lang="en-US" altLang="zh-CN" smtClean="0"/>
              <a:t>Click to edit Master subtitle style</a:t>
            </a:r>
            <a:endParaRPr lang="en-US" smtClean="0"/>
          </a:p>
        </p:txBody>
      </p:sp>
      <p:pic>
        <p:nvPicPr>
          <p:cNvPr id="14" name="Picture 82" descr="C:\Users\orange.zhou\Desktop\Corporate VI format\2017\02_Qoros Logo\QorosLogo_New_RGB-01.ti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628" y="0"/>
            <a:ext cx="999410" cy="1064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0552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c id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8024813" y="36513"/>
            <a:ext cx="6572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895350"/>
            <a:endParaRPr lang="cs-CZ" sz="800" b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469900" y="3343275"/>
            <a:ext cx="6300788" cy="514350"/>
            <a:chOff x="296" y="2106"/>
            <a:chExt cx="3969" cy="324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gray">
            <a:xfrm>
              <a:off x="296" y="2106"/>
              <a:ext cx="396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600" b="0" dirty="0">
                  <a:solidFill>
                    <a:schemeClr val="tx1"/>
                  </a:solidFill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gray">
            <a:xfrm>
              <a:off x="296" y="2276"/>
              <a:ext cx="396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r>
                <a:rPr lang="en-US" altLang="zh-CN" sz="1600" b="0" dirty="0">
                  <a:solidFill>
                    <a:schemeClr val="tx1"/>
                  </a:solidFill>
                </a:rPr>
                <a:t>Date</a:t>
              </a:r>
            </a:p>
          </p:txBody>
        </p:sp>
      </p:grpSp>
      <p:sp>
        <p:nvSpPr>
          <p:cNvPr id="12" name="Title Placeholder 1"/>
          <p:cNvSpPr>
            <a:spLocks noGrp="1"/>
          </p:cNvSpPr>
          <p:nvPr>
            <p:ph type="ctrTitle"/>
          </p:nvPr>
        </p:nvSpPr>
        <p:spPr>
          <a:xfrm>
            <a:off x="469900" y="1250950"/>
            <a:ext cx="8191500" cy="396875"/>
          </a:xfrm>
        </p:spPr>
        <p:txBody>
          <a:bodyPr/>
          <a:lstStyle>
            <a:lvl1pPr>
              <a:lnSpc>
                <a:spcPct val="100000"/>
              </a:lnSpc>
              <a:defRPr sz="26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2"/>
          <p:cNvSpPr>
            <a:spLocks noGrp="1"/>
          </p:cNvSpPr>
          <p:nvPr>
            <p:ph type="subTitle" idx="1"/>
          </p:nvPr>
        </p:nvSpPr>
        <p:spPr>
          <a:xfrm>
            <a:off x="469900" y="2357438"/>
            <a:ext cx="6392863" cy="274637"/>
          </a:xfrm>
          <a:ln/>
        </p:spPr>
        <p:txBody>
          <a:bodyPr anchor="ctr">
            <a:spAutoFit/>
          </a:bodyPr>
          <a:lstStyle>
            <a:lvl1pPr>
              <a:defRPr sz="1800" smtClean="0">
                <a:latin typeface="Arial" pitchFamily="34" charset="0"/>
              </a:defRPr>
            </a:lvl1pPr>
          </a:lstStyle>
          <a:p>
            <a:r>
              <a:rPr lang="en-US" altLang="zh-CN" smtClean="0"/>
              <a:t>Click to edit Master subtitle style</a:t>
            </a:r>
            <a:endParaRPr lang="en-US" smtClean="0"/>
          </a:p>
        </p:txBody>
      </p:sp>
      <p:pic>
        <p:nvPicPr>
          <p:cNvPr id="17" name="Picture 82" descr="C:\Users\orange.zhou\Desktop\Corporate VI format\2017\02_Qoros Logo\QorosLogo_New_RGB-01.ti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628" y="0"/>
            <a:ext cx="999410" cy="1064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357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326975" y="195486"/>
            <a:ext cx="7886700" cy="307777"/>
          </a:xfrm>
          <a:prstGeom prst="rect">
            <a:avLst/>
          </a:prstGeom>
        </p:spPr>
        <p:txBody>
          <a:bodyPr/>
          <a:lstStyle>
            <a:lvl1pPr algn="l">
              <a:defRPr sz="2539">
                <a:solidFill>
                  <a:srgbClr val="40404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TextBox 20"/>
          <p:cNvSpPr txBox="1"/>
          <p:nvPr userDrawn="1"/>
        </p:nvSpPr>
        <p:spPr>
          <a:xfrm>
            <a:off x="8034824" y="4939028"/>
            <a:ext cx="1043608" cy="214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59B5867-DE59-46F3-AFF3-A11EED7B06D6}" type="slidenum">
              <a:rPr lang="zh-CN" altLang="en-US" sz="793" smtClean="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t>‹#›</a:t>
            </a:fld>
            <a:endParaRPr lang="zh-CN" altLang="en-US" sz="793" dirty="0">
              <a:solidFill>
                <a:schemeClr val="bg1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0136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66682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473075" y="296863"/>
            <a:ext cx="73040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dirty="0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gray">
          <a:xfrm>
            <a:off x="935038" y="1970088"/>
            <a:ext cx="4264025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 smtClean="0"/>
          </a:p>
        </p:txBody>
      </p:sp>
      <p:sp>
        <p:nvSpPr>
          <p:cNvPr id="10" name="pg num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 bwMode="gray">
          <a:xfrm>
            <a:off x="8682038" y="4929188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>
              <a:defRPr sz="1000" b="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5039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7" r:id="rId3"/>
    <p:sldLayoutId id="2147483663" r:id="rId4"/>
    <p:sldLayoutId id="2147483665" r:id="rId5"/>
    <p:sldLayoutId id="2147483666" r:id="rId6"/>
    <p:sldLayoutId id="2147483668" r:id="rId7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 kern="1200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defTabSz="457200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-52"/>
          <a:ea typeface="MS PGothic" pitchFamily="34" charset="-128"/>
          <a:cs typeface="Arial" charset="0"/>
        </a:defRPr>
      </a:lvl2pPr>
      <a:lvl3pPr algn="l" defTabSz="457200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-52"/>
          <a:ea typeface="MS PGothic" pitchFamily="34" charset="-128"/>
          <a:cs typeface="Arial" charset="0"/>
        </a:defRPr>
      </a:lvl3pPr>
      <a:lvl4pPr algn="l" defTabSz="457200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-52"/>
          <a:ea typeface="MS PGothic" pitchFamily="34" charset="-128"/>
          <a:cs typeface="Arial" charset="0"/>
        </a:defRPr>
      </a:lvl4pPr>
      <a:lvl5pPr algn="l" defTabSz="457200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-52"/>
          <a:ea typeface="MS PGothic" pitchFamily="34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-52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-52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-52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-52"/>
          <a:ea typeface="ＭＳ Ｐゴシック" charset="-128"/>
        </a:defRPr>
      </a:lvl9pPr>
    </p:titleStyle>
    <p:bodyStyle>
      <a:lvl1pPr marL="342900" indent="-34290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00" kern="1200">
          <a:solidFill>
            <a:schemeClr val="tx1"/>
          </a:solidFill>
          <a:latin typeface="Arial" pitchFamily="34" charset="0"/>
          <a:ea typeface="MS PGothic" pitchFamily="34" charset="-128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itchFamily="34" charset="0"/>
        <a:buChar char="▪"/>
        <a:defRPr sz="1600" kern="1200">
          <a:solidFill>
            <a:schemeClr val="tx1"/>
          </a:solidFill>
          <a:latin typeface="Arial" pitchFamily="34" charset="0"/>
          <a:ea typeface="MS PGothic" pitchFamily="34" charset="-128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MS PGothic" pitchFamily="34" charset="-128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Arial" pitchFamily="34" charset="0"/>
          <a:ea typeface="MS PGothic" pitchFamily="34" charset="-128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tabLst>
          <a:tab pos="2065338" algn="l"/>
        </a:tabLst>
        <a:defRPr sz="1600" kern="1200">
          <a:solidFill>
            <a:schemeClr val="tx1"/>
          </a:solidFill>
          <a:latin typeface="Arial" pitchFamily="34" charset="0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png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36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9.w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38.w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9632" y="1275606"/>
            <a:ext cx="6059809" cy="400110"/>
          </a:xfrm>
        </p:spPr>
        <p:txBody>
          <a:bodyPr/>
          <a:lstStyle/>
          <a:p>
            <a:pPr lvl="0"/>
            <a:r>
              <a:rPr lang="zh-CN" altLang="zh-CN" dirty="0"/>
              <a:t>观致汽车官方</a:t>
            </a:r>
            <a:r>
              <a:rPr lang="en-US" altLang="zh-CN" dirty="0"/>
              <a:t>APP</a:t>
            </a:r>
            <a:r>
              <a:rPr lang="zh-CN" altLang="zh-CN" dirty="0"/>
              <a:t>开发</a:t>
            </a:r>
            <a:r>
              <a:rPr lang="zh-CN" altLang="zh-CN" dirty="0" smtClean="0"/>
              <a:t>项目</a:t>
            </a:r>
            <a:r>
              <a:rPr lang="zh-CN" altLang="en-US" dirty="0" smtClean="0"/>
              <a:t>启动会议</a:t>
            </a:r>
            <a:endParaRPr lang="zh-CN" altLang="zh-C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23728" y="2211710"/>
            <a:ext cx="6392863" cy="1384995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浙江易时科技股份有限公司</a:t>
            </a: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r>
              <a:rPr lang="en-US" altLang="zh-C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018-03-06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zh-CN" altLang="en-US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534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3075" y="296863"/>
            <a:ext cx="7304088" cy="400110"/>
          </a:xfrm>
        </p:spPr>
        <p:txBody>
          <a:bodyPr/>
          <a:lstStyle/>
          <a:p>
            <a:r>
              <a:rPr lang="en-US" altLang="zh-CN" dirty="0" smtClean="0"/>
              <a:t>3.4  </a:t>
            </a:r>
            <a:r>
              <a:rPr lang="zh-CN" altLang="en-US" dirty="0" smtClean="0"/>
              <a:t>项目组织架构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95536" y="987574"/>
            <a:ext cx="70594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本项目的项目组织结构</a:t>
            </a:r>
            <a:r>
              <a:rPr lang="zh-CN" altLang="en-US" sz="1400" dirty="0" smtClean="0"/>
              <a:t>如图</a:t>
            </a:r>
            <a:r>
              <a:rPr lang="zh-CN" altLang="en-US" sz="1400" dirty="0"/>
              <a:t>所示，具体会根据项目实际需要进行协商调整。</a:t>
            </a:r>
          </a:p>
        </p:txBody>
      </p:sp>
      <p:sp>
        <p:nvSpPr>
          <p:cNvPr id="5" name="矩形 4"/>
          <p:cNvSpPr/>
          <p:nvPr/>
        </p:nvSpPr>
        <p:spPr>
          <a:xfrm>
            <a:off x="3779912" y="1438833"/>
            <a:ext cx="1368152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项目总监</a:t>
            </a:r>
            <a:endParaRPr lang="en-US" altLang="zh-CN" sz="1400" dirty="0" smtClean="0"/>
          </a:p>
          <a:p>
            <a:pPr algn="ctr"/>
            <a:r>
              <a:rPr lang="zh-CN" altLang="en-US" sz="1400" dirty="0"/>
              <a:t>李海</a:t>
            </a:r>
            <a:r>
              <a:rPr lang="zh-CN" altLang="en-US" sz="1400" dirty="0" smtClean="0"/>
              <a:t>光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陈来</a:t>
            </a:r>
            <a:endParaRPr lang="zh-CN" altLang="en-US" sz="1400" dirty="0"/>
          </a:p>
        </p:txBody>
      </p:sp>
      <p:sp>
        <p:nvSpPr>
          <p:cNvPr id="8" name="矩形 7"/>
          <p:cNvSpPr/>
          <p:nvPr/>
        </p:nvSpPr>
        <p:spPr>
          <a:xfrm>
            <a:off x="3779912" y="2158913"/>
            <a:ext cx="1368152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项目经理</a:t>
            </a:r>
            <a:endParaRPr lang="en-US" altLang="zh-CN" sz="1400" dirty="0" smtClean="0"/>
          </a:p>
          <a:p>
            <a:pPr algn="ctr"/>
            <a:r>
              <a:rPr lang="zh-CN" altLang="en-US" sz="1400" dirty="0"/>
              <a:t>王士杰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余桂香</a:t>
            </a:r>
            <a:endParaRPr lang="zh-CN" altLang="en-US" sz="1400" dirty="0"/>
          </a:p>
        </p:txBody>
      </p:sp>
      <p:sp>
        <p:nvSpPr>
          <p:cNvPr id="9" name="矩形 8"/>
          <p:cNvSpPr/>
          <p:nvPr/>
        </p:nvSpPr>
        <p:spPr>
          <a:xfrm>
            <a:off x="1854746" y="3075806"/>
            <a:ext cx="1368152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项目组</a:t>
            </a:r>
            <a:endParaRPr lang="en-US" altLang="zh-CN" sz="1400" dirty="0" smtClean="0"/>
          </a:p>
        </p:txBody>
      </p:sp>
      <p:sp>
        <p:nvSpPr>
          <p:cNvPr id="10" name="矩形 9"/>
          <p:cNvSpPr/>
          <p:nvPr/>
        </p:nvSpPr>
        <p:spPr>
          <a:xfrm>
            <a:off x="488603" y="3939902"/>
            <a:ext cx="1188132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产品</a:t>
            </a:r>
            <a:r>
              <a:rPr lang="zh-CN" altLang="en-US" sz="1400" dirty="0" smtClean="0"/>
              <a:t>组</a:t>
            </a:r>
            <a:endParaRPr lang="en-US" altLang="zh-CN" sz="1400" dirty="0" smtClean="0"/>
          </a:p>
          <a:p>
            <a:pPr algn="ctr"/>
            <a:r>
              <a:rPr lang="zh-CN" altLang="en-US" sz="1400" dirty="0" smtClean="0"/>
              <a:t>刘磊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刘玲楠</a:t>
            </a:r>
            <a:endParaRPr lang="en-US" altLang="zh-CN" sz="1400" dirty="0" smtClean="0"/>
          </a:p>
        </p:txBody>
      </p:sp>
      <p:sp>
        <p:nvSpPr>
          <p:cNvPr id="11" name="矩形 10"/>
          <p:cNvSpPr/>
          <p:nvPr/>
        </p:nvSpPr>
        <p:spPr>
          <a:xfrm>
            <a:off x="2036775" y="3939902"/>
            <a:ext cx="1008112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开发组</a:t>
            </a:r>
            <a:endParaRPr lang="en-US" altLang="zh-CN" sz="1400" dirty="0" smtClean="0"/>
          </a:p>
          <a:p>
            <a:pPr algn="ctr"/>
            <a:r>
              <a:rPr lang="zh-CN" altLang="en-US" sz="1400" dirty="0"/>
              <a:t>马晓辉</a:t>
            </a:r>
            <a:endParaRPr lang="en-US" altLang="zh-CN" sz="1400" dirty="0" smtClean="0"/>
          </a:p>
        </p:txBody>
      </p:sp>
      <p:sp>
        <p:nvSpPr>
          <p:cNvPr id="12" name="矩形 11"/>
          <p:cNvSpPr/>
          <p:nvPr/>
        </p:nvSpPr>
        <p:spPr>
          <a:xfrm>
            <a:off x="3404927" y="3939902"/>
            <a:ext cx="1080120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测试组</a:t>
            </a:r>
            <a:endParaRPr lang="en-US" altLang="zh-CN" sz="1400" dirty="0" smtClean="0"/>
          </a:p>
          <a:p>
            <a:pPr algn="ctr"/>
            <a:r>
              <a:rPr lang="zh-CN" altLang="en-US" sz="1400" dirty="0"/>
              <a:t>刘小虎</a:t>
            </a:r>
            <a:endParaRPr lang="en-US" altLang="zh-CN" sz="1400" dirty="0" smtClean="0"/>
          </a:p>
        </p:txBody>
      </p:sp>
      <p:sp>
        <p:nvSpPr>
          <p:cNvPr id="13" name="矩形 12"/>
          <p:cNvSpPr/>
          <p:nvPr/>
        </p:nvSpPr>
        <p:spPr>
          <a:xfrm>
            <a:off x="5868144" y="3075806"/>
            <a:ext cx="1368152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关系方</a:t>
            </a:r>
            <a:endParaRPr lang="en-US" altLang="zh-CN" sz="1400" dirty="0" smtClean="0"/>
          </a:p>
        </p:txBody>
      </p:sp>
      <p:sp>
        <p:nvSpPr>
          <p:cNvPr id="14" name="矩形 13"/>
          <p:cNvSpPr/>
          <p:nvPr/>
        </p:nvSpPr>
        <p:spPr>
          <a:xfrm>
            <a:off x="4864633" y="3939902"/>
            <a:ext cx="619348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市场</a:t>
            </a:r>
            <a:endParaRPr lang="en-US" altLang="zh-CN" sz="1400" dirty="0" smtClean="0"/>
          </a:p>
        </p:txBody>
      </p:sp>
      <p:sp>
        <p:nvSpPr>
          <p:cNvPr id="15" name="矩形 14"/>
          <p:cNvSpPr/>
          <p:nvPr/>
        </p:nvSpPr>
        <p:spPr>
          <a:xfrm>
            <a:off x="5772013" y="3939902"/>
            <a:ext cx="619348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销售</a:t>
            </a:r>
            <a:endParaRPr lang="en-US" altLang="zh-CN" sz="1400" dirty="0" smtClean="0"/>
          </a:p>
        </p:txBody>
      </p:sp>
      <p:sp>
        <p:nvSpPr>
          <p:cNvPr id="16" name="矩形 15"/>
          <p:cNvSpPr/>
          <p:nvPr/>
        </p:nvSpPr>
        <p:spPr>
          <a:xfrm>
            <a:off x="6679393" y="3939902"/>
            <a:ext cx="619348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售后</a:t>
            </a:r>
            <a:endParaRPr lang="en-US" altLang="zh-CN" sz="1400" dirty="0" smtClean="0"/>
          </a:p>
        </p:txBody>
      </p:sp>
      <p:sp>
        <p:nvSpPr>
          <p:cNvPr id="17" name="矩形 16"/>
          <p:cNvSpPr/>
          <p:nvPr/>
        </p:nvSpPr>
        <p:spPr>
          <a:xfrm>
            <a:off x="7644221" y="3939902"/>
            <a:ext cx="792088" cy="5040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车联网</a:t>
            </a:r>
            <a:endParaRPr lang="en-US" altLang="zh-CN" sz="1400" dirty="0" smtClean="0"/>
          </a:p>
        </p:txBody>
      </p:sp>
      <p:cxnSp>
        <p:nvCxnSpPr>
          <p:cNvPr id="19" name="直接箭头连接符 18"/>
          <p:cNvCxnSpPr>
            <a:stCxn id="5" idx="2"/>
            <a:endCxn id="8" idx="0"/>
          </p:cNvCxnSpPr>
          <p:nvPr/>
        </p:nvCxnSpPr>
        <p:spPr>
          <a:xfrm>
            <a:off x="4463988" y="1942889"/>
            <a:ext cx="0" cy="216024"/>
          </a:xfrm>
          <a:prstGeom prst="straightConnector1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肘形连接符 20"/>
          <p:cNvCxnSpPr>
            <a:stCxn id="8" idx="2"/>
            <a:endCxn id="9" idx="0"/>
          </p:cNvCxnSpPr>
          <p:nvPr/>
        </p:nvCxnSpPr>
        <p:spPr>
          <a:xfrm rot="5400000">
            <a:off x="3294987" y="1906804"/>
            <a:ext cx="412837" cy="1925166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stCxn id="8" idx="2"/>
            <a:endCxn id="13" idx="0"/>
          </p:cNvCxnSpPr>
          <p:nvPr/>
        </p:nvCxnSpPr>
        <p:spPr>
          <a:xfrm rot="16200000" flipH="1">
            <a:off x="5301686" y="1825271"/>
            <a:ext cx="412837" cy="2088232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肘形连接符 24"/>
          <p:cNvCxnSpPr>
            <a:stCxn id="9" idx="2"/>
            <a:endCxn id="10" idx="0"/>
          </p:cNvCxnSpPr>
          <p:nvPr/>
        </p:nvCxnSpPr>
        <p:spPr>
          <a:xfrm rot="5400000">
            <a:off x="1630726" y="3031806"/>
            <a:ext cx="360040" cy="1456153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肘形连接符 26"/>
          <p:cNvCxnSpPr>
            <a:stCxn id="9" idx="2"/>
            <a:endCxn id="11" idx="0"/>
          </p:cNvCxnSpPr>
          <p:nvPr/>
        </p:nvCxnSpPr>
        <p:spPr>
          <a:xfrm rot="16200000" flipH="1">
            <a:off x="2359806" y="3758877"/>
            <a:ext cx="360040" cy="2009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肘形连接符 28"/>
          <p:cNvCxnSpPr>
            <a:stCxn id="9" idx="2"/>
            <a:endCxn id="12" idx="0"/>
          </p:cNvCxnSpPr>
          <p:nvPr/>
        </p:nvCxnSpPr>
        <p:spPr>
          <a:xfrm rot="16200000" flipH="1">
            <a:off x="3061884" y="3056799"/>
            <a:ext cx="360040" cy="1406165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肘形连接符 30"/>
          <p:cNvCxnSpPr>
            <a:stCxn id="13" idx="2"/>
            <a:endCxn id="14" idx="0"/>
          </p:cNvCxnSpPr>
          <p:nvPr/>
        </p:nvCxnSpPr>
        <p:spPr>
          <a:xfrm rot="5400000">
            <a:off x="5683244" y="3070926"/>
            <a:ext cx="360040" cy="1377913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肘形连接符 32"/>
          <p:cNvCxnSpPr>
            <a:stCxn id="13" idx="2"/>
            <a:endCxn id="15" idx="0"/>
          </p:cNvCxnSpPr>
          <p:nvPr/>
        </p:nvCxnSpPr>
        <p:spPr>
          <a:xfrm rot="5400000">
            <a:off x="6136934" y="3524616"/>
            <a:ext cx="360040" cy="470533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肘形连接符 34"/>
          <p:cNvCxnSpPr>
            <a:stCxn id="13" idx="2"/>
            <a:endCxn id="16" idx="0"/>
          </p:cNvCxnSpPr>
          <p:nvPr/>
        </p:nvCxnSpPr>
        <p:spPr>
          <a:xfrm rot="16200000" flipH="1">
            <a:off x="6590623" y="3541458"/>
            <a:ext cx="360040" cy="436847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肘形连接符 36"/>
          <p:cNvCxnSpPr>
            <a:stCxn id="13" idx="2"/>
            <a:endCxn id="17" idx="0"/>
          </p:cNvCxnSpPr>
          <p:nvPr/>
        </p:nvCxnSpPr>
        <p:spPr>
          <a:xfrm rot="16200000" flipH="1">
            <a:off x="7116222" y="3015859"/>
            <a:ext cx="360040" cy="1488045"/>
          </a:xfrm>
          <a:prstGeom prst="bentConnector3">
            <a:avLst/>
          </a:prstGeom>
          <a:ln w="3175">
            <a:solidFill>
              <a:srgbClr val="969696"/>
            </a:solidFill>
            <a:prstDash val="soli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298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 txBox="1">
            <a:spLocks/>
          </p:cNvSpPr>
          <p:nvPr/>
        </p:nvSpPr>
        <p:spPr bwMode="gray">
          <a:xfrm>
            <a:off x="468313" y="186293"/>
            <a:ext cx="73040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600" b="1" kern="120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2pPr>
            <a:lvl3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3pPr>
            <a:lvl4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4pPr>
            <a:lvl5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9pPr>
          </a:lstStyle>
          <a:p>
            <a:r>
              <a:rPr lang="en-US" altLang="zh-CN" sz="2400" dirty="0" smtClean="0">
                <a:latin typeface="+mj-ea"/>
                <a:ea typeface="+mj-ea"/>
              </a:rPr>
              <a:t>3.5 </a:t>
            </a:r>
            <a:r>
              <a:rPr lang="zh-CN" altLang="en-US" sz="2400" dirty="0" smtClean="0">
                <a:latin typeface="+mj-ea"/>
                <a:ea typeface="+mj-ea"/>
              </a:rPr>
              <a:t>系统集成</a:t>
            </a:r>
            <a:endParaRPr lang="zh-CN" altLang="en-US" sz="2400" dirty="0">
              <a:latin typeface="+mj-ea"/>
              <a:ea typeface="+mj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074153" y="288974"/>
            <a:ext cx="1295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chemeClr val="bg1"/>
                </a:solidFill>
              </a:rPr>
              <a:t>第三方平台数据</a:t>
            </a:r>
            <a:endParaRPr lang="zh-CN" altLang="en-US" sz="1200" b="1" dirty="0">
              <a:solidFill>
                <a:schemeClr val="bg1"/>
              </a:solidFill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040" y="566742"/>
            <a:ext cx="2600000" cy="1561905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4153" y="3003798"/>
            <a:ext cx="2047619" cy="1314286"/>
          </a:xfrm>
          <a:prstGeom prst="rect">
            <a:avLst/>
          </a:prstGeom>
        </p:spPr>
      </p:pic>
      <p:sp>
        <p:nvSpPr>
          <p:cNvPr id="32" name="灯片编号占位符 3"/>
          <p:cNvSpPr txBox="1">
            <a:spLocks/>
          </p:cNvSpPr>
          <p:nvPr/>
        </p:nvSpPr>
        <p:spPr bwMode="gray">
          <a:xfrm>
            <a:off x="8682038" y="4929188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/>
              <a:t>10</a:t>
            </a:r>
            <a:endParaRPr lang="zh-CN" altLang="en-US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313" y="597639"/>
            <a:ext cx="4128231" cy="433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5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405127"/>
              </p:ext>
            </p:extLst>
          </p:nvPr>
        </p:nvGraphicFramePr>
        <p:xfrm>
          <a:off x="468313" y="1131590"/>
          <a:ext cx="7776864" cy="3024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1439">
                  <a:extLst>
                    <a:ext uri="{9D8B030D-6E8A-4147-A177-3AD203B41FA5}">
                      <a16:colId xmlns:a16="http://schemas.microsoft.com/office/drawing/2014/main" val="2684676760"/>
                    </a:ext>
                  </a:extLst>
                </a:gridCol>
                <a:gridCol w="1322967">
                  <a:extLst>
                    <a:ext uri="{9D8B030D-6E8A-4147-A177-3AD203B41FA5}">
                      <a16:colId xmlns:a16="http://schemas.microsoft.com/office/drawing/2014/main" val="2256652722"/>
                    </a:ext>
                  </a:extLst>
                </a:gridCol>
                <a:gridCol w="2436965">
                  <a:extLst>
                    <a:ext uri="{9D8B030D-6E8A-4147-A177-3AD203B41FA5}">
                      <a16:colId xmlns:a16="http://schemas.microsoft.com/office/drawing/2014/main" val="3243522618"/>
                    </a:ext>
                  </a:extLst>
                </a:gridCol>
                <a:gridCol w="2895493">
                  <a:extLst>
                    <a:ext uri="{9D8B030D-6E8A-4147-A177-3AD203B41FA5}">
                      <a16:colId xmlns:a16="http://schemas.microsoft.com/office/drawing/2014/main" val="4960564"/>
                    </a:ext>
                  </a:extLst>
                </a:gridCol>
              </a:tblGrid>
              <a:tr h="62108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分期建设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时间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目标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功能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8257371"/>
                  </a:ext>
                </a:extLst>
              </a:tr>
              <a:tr h="120162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0.1</a:t>
                      </a:r>
                      <a:r>
                        <a:rPr lang="zh-CN" altLang="en-US" sz="1400" dirty="0" smtClean="0"/>
                        <a:t>版本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018.4.20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APP</a:t>
                      </a:r>
                      <a:r>
                        <a:rPr lang="zh-CN" altLang="en-US" sz="1400" dirty="0" smtClean="0"/>
                        <a:t>基本可用，实现市场推广及简单车主服务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/>
                        <a:t>车型介绍、市场活动、交车有礼、车主服务（车主注册）、个人中心</a:t>
                      </a:r>
                      <a:endParaRPr lang="zh-CN" alt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6639748"/>
                  </a:ext>
                </a:extLst>
              </a:tr>
              <a:tr h="120162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1.0</a:t>
                      </a:r>
                      <a:r>
                        <a:rPr lang="zh-CN" altLang="en-US" sz="1400" dirty="0" smtClean="0"/>
                        <a:t>版本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2018.7.20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/>
                        <a:t>APP</a:t>
                      </a:r>
                      <a:r>
                        <a:rPr lang="zh-CN" altLang="en-US" sz="1400" dirty="0" smtClean="0"/>
                        <a:t>内涵丰富，涵盖从潜客到忠诚客全流程服务内容</a:t>
                      </a:r>
                      <a:endParaRPr lang="zh-CN" alt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 smtClean="0"/>
                        <a:t>车型介绍、市场活动、交车有礼、车主服务（预约服务、维修履历、配件查询）、个人中心、车友论坛、积分商城、第三方服务平台接入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4460764"/>
                  </a:ext>
                </a:extLst>
              </a:tr>
            </a:tbl>
          </a:graphicData>
        </a:graphic>
      </p:graphicFrame>
      <p:sp>
        <p:nvSpPr>
          <p:cNvPr id="5" name="标题 1"/>
          <p:cNvSpPr txBox="1">
            <a:spLocks/>
          </p:cNvSpPr>
          <p:nvPr/>
        </p:nvSpPr>
        <p:spPr bwMode="gray">
          <a:xfrm>
            <a:off x="468313" y="186293"/>
            <a:ext cx="73040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600" b="1" kern="120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2pPr>
            <a:lvl3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3pPr>
            <a:lvl4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4pPr>
            <a:lvl5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9pPr>
          </a:lstStyle>
          <a:p>
            <a:r>
              <a:rPr lang="en-US" altLang="zh-CN" sz="2400" dirty="0" smtClean="0">
                <a:latin typeface="+mj-ea"/>
                <a:ea typeface="+mj-ea"/>
              </a:rPr>
              <a:t>3.6 </a:t>
            </a:r>
            <a:r>
              <a:rPr lang="zh-CN" altLang="en-US" sz="2400" dirty="0" smtClean="0">
                <a:latin typeface="+mj-ea"/>
                <a:ea typeface="+mj-ea"/>
              </a:rPr>
              <a:t>分期建设</a:t>
            </a:r>
            <a:endParaRPr lang="zh-CN" altLang="en-US" sz="2400" dirty="0">
              <a:latin typeface="+mj-ea"/>
              <a:ea typeface="+mj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95536" y="4299942"/>
            <a:ext cx="748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备注</a:t>
            </a:r>
            <a:r>
              <a:rPr lang="zh-CN" altLang="en-US" sz="1200" dirty="0" smtClean="0"/>
              <a:t>：</a:t>
            </a:r>
            <a:r>
              <a:rPr lang="en-US" altLang="zh-CN" sz="1200" dirty="0" smtClean="0"/>
              <a:t>4.20</a:t>
            </a:r>
            <a:r>
              <a:rPr lang="zh-CN" altLang="en-US" sz="1200" dirty="0" smtClean="0"/>
              <a:t>具体实现功能与商务合同确定时间相关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018344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>
            <p:ph type="ctrTitle"/>
          </p:nvPr>
        </p:nvSpPr>
        <p:spPr>
          <a:xfrm>
            <a:off x="299645" y="100567"/>
            <a:ext cx="8191500" cy="396875"/>
          </a:xfrm>
        </p:spPr>
        <p:txBody>
          <a:bodyPr/>
          <a:lstStyle/>
          <a:p>
            <a:r>
              <a:rPr lang="en-US" altLang="zh-CN" dirty="0" smtClean="0">
                <a:latin typeface="+mj-ea"/>
                <a:ea typeface="+mj-ea"/>
              </a:rPr>
              <a:t>3.7 </a:t>
            </a:r>
            <a:r>
              <a:rPr lang="zh-CN" altLang="en-US" dirty="0" smtClean="0">
                <a:latin typeface="+mj-ea"/>
                <a:ea typeface="+mj-ea"/>
              </a:rPr>
              <a:t>系统架构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9" name="副标题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矩形 13"/>
          <p:cNvSpPr/>
          <p:nvPr/>
        </p:nvSpPr>
        <p:spPr>
          <a:xfrm>
            <a:off x="116109" y="1584099"/>
            <a:ext cx="5084287" cy="3447592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94" name="矩形 93"/>
          <p:cNvSpPr/>
          <p:nvPr/>
        </p:nvSpPr>
        <p:spPr>
          <a:xfrm>
            <a:off x="327948" y="1657721"/>
            <a:ext cx="4643940" cy="21946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5" name="矩形 14"/>
          <p:cNvSpPr/>
          <p:nvPr/>
        </p:nvSpPr>
        <p:spPr>
          <a:xfrm>
            <a:off x="1258645" y="1771975"/>
            <a:ext cx="3541863" cy="651151"/>
          </a:xfrm>
          <a:prstGeom prst="rect">
            <a:avLst/>
          </a:prstGeom>
          <a:solidFill>
            <a:srgbClr val="FFFF00">
              <a:alpha val="35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61" name="矩形 60"/>
          <p:cNvSpPr/>
          <p:nvPr/>
        </p:nvSpPr>
        <p:spPr>
          <a:xfrm>
            <a:off x="1678647" y="1947693"/>
            <a:ext cx="1070933" cy="25374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11" dirty="0"/>
              <a:t>管理系统</a:t>
            </a:r>
          </a:p>
        </p:txBody>
      </p:sp>
      <p:sp>
        <p:nvSpPr>
          <p:cNvPr id="68" name="矩形 67"/>
          <p:cNvSpPr/>
          <p:nvPr/>
        </p:nvSpPr>
        <p:spPr>
          <a:xfrm>
            <a:off x="3527630" y="1947693"/>
            <a:ext cx="1070933" cy="25374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11" dirty="0"/>
              <a:t>移动</a:t>
            </a:r>
            <a:r>
              <a:rPr kumimoji="1" lang="en-US" altLang="zh-CN" sz="1111" dirty="0"/>
              <a:t>App</a:t>
            </a:r>
            <a:endParaRPr kumimoji="1" lang="zh-CN" altLang="en-US" sz="1111" dirty="0"/>
          </a:p>
        </p:txBody>
      </p:sp>
      <p:sp>
        <p:nvSpPr>
          <p:cNvPr id="69" name="矩形 68"/>
          <p:cNvSpPr/>
          <p:nvPr/>
        </p:nvSpPr>
        <p:spPr>
          <a:xfrm>
            <a:off x="1315772" y="2980100"/>
            <a:ext cx="3541863" cy="586047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28" dirty="0"/>
              <a:t>服务中心</a:t>
            </a:r>
            <a:r>
              <a:rPr kumimoji="1" lang="en-US" altLang="zh-CN" sz="1428" dirty="0"/>
              <a:t>(</a:t>
            </a:r>
            <a:r>
              <a:rPr kumimoji="1" lang="en-US" altLang="zh-CN" sz="1428" dirty="0" err="1"/>
              <a:t>MircoService</a:t>
            </a:r>
            <a:r>
              <a:rPr kumimoji="1" lang="en-US" altLang="zh-CN" sz="1428" dirty="0"/>
              <a:t>)</a:t>
            </a:r>
            <a:endParaRPr kumimoji="1" lang="zh-CN" altLang="en-US" sz="1428" dirty="0"/>
          </a:p>
        </p:txBody>
      </p:sp>
      <p:sp>
        <p:nvSpPr>
          <p:cNvPr id="71" name="矩形 70"/>
          <p:cNvSpPr/>
          <p:nvPr/>
        </p:nvSpPr>
        <p:spPr>
          <a:xfrm>
            <a:off x="299645" y="3937175"/>
            <a:ext cx="4672244" cy="976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zh-CN" altLang="en-US" sz="1428" dirty="0">
                <a:solidFill>
                  <a:schemeClr val="tx1"/>
                </a:solidFill>
              </a:rPr>
              <a:t>云资源</a:t>
            </a: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41" y="556224"/>
            <a:ext cx="369008" cy="369008"/>
          </a:xfrm>
          <a:prstGeom prst="rect">
            <a:avLst/>
          </a:prstGeom>
        </p:spPr>
      </p:pic>
      <p:grpSp>
        <p:nvGrpSpPr>
          <p:cNvPr id="38" name="组 37"/>
          <p:cNvGrpSpPr/>
          <p:nvPr/>
        </p:nvGrpSpPr>
        <p:grpSpPr>
          <a:xfrm>
            <a:off x="1398096" y="520305"/>
            <a:ext cx="682592" cy="463044"/>
            <a:chOff x="1420754" y="642998"/>
            <a:chExt cx="860403" cy="583664"/>
          </a:xfrm>
        </p:grpSpPr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0754" y="662143"/>
              <a:ext cx="465132" cy="465132"/>
            </a:xfrm>
            <a:prstGeom prst="rect">
              <a:avLst/>
            </a:prstGeom>
          </p:spPr>
        </p:pic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6025" y="642998"/>
              <a:ext cx="465132" cy="465132"/>
            </a:xfrm>
            <a:prstGeom prst="rect">
              <a:avLst/>
            </a:prstGeom>
          </p:spPr>
        </p:pic>
        <p:pic>
          <p:nvPicPr>
            <p:cNvPr id="25" name="图片 2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1445" y="761530"/>
              <a:ext cx="465132" cy="465132"/>
            </a:xfrm>
            <a:prstGeom prst="rect">
              <a:avLst/>
            </a:prstGeom>
          </p:spPr>
        </p:pic>
      </p:grpSp>
      <p:grpSp>
        <p:nvGrpSpPr>
          <p:cNvPr id="80" name="组 79"/>
          <p:cNvGrpSpPr/>
          <p:nvPr/>
        </p:nvGrpSpPr>
        <p:grpSpPr>
          <a:xfrm>
            <a:off x="2394536" y="1008754"/>
            <a:ext cx="410399" cy="537323"/>
            <a:chOff x="970029" y="1322406"/>
            <a:chExt cx="517305" cy="677292"/>
          </a:xfrm>
        </p:grpSpPr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029" y="1322406"/>
              <a:ext cx="465132" cy="465132"/>
            </a:xfrm>
            <a:prstGeom prst="rect">
              <a:avLst/>
            </a:prstGeom>
          </p:spPr>
        </p:pic>
        <p:sp>
          <p:nvSpPr>
            <p:cNvPr id="39" name="文本框 38"/>
            <p:cNvSpPr txBox="1"/>
            <p:nvPr/>
          </p:nvSpPr>
          <p:spPr>
            <a:xfrm>
              <a:off x="1010074" y="1729506"/>
              <a:ext cx="477260" cy="2701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793" dirty="0"/>
                <a:t>SLB</a:t>
              </a:r>
              <a:endParaRPr kumimoji="1" lang="zh-CN" altLang="en-US" sz="793" dirty="0"/>
            </a:p>
          </p:txBody>
        </p:sp>
      </p:grpSp>
      <p:grpSp>
        <p:nvGrpSpPr>
          <p:cNvPr id="79" name="组 78"/>
          <p:cNvGrpSpPr/>
          <p:nvPr/>
        </p:nvGrpSpPr>
        <p:grpSpPr>
          <a:xfrm>
            <a:off x="3284468" y="1015924"/>
            <a:ext cx="432697" cy="534866"/>
            <a:chOff x="1998138" y="1287678"/>
            <a:chExt cx="545411" cy="674195"/>
          </a:xfrm>
        </p:grpSpPr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8138" y="1287678"/>
              <a:ext cx="465132" cy="465132"/>
            </a:xfrm>
            <a:prstGeom prst="rect">
              <a:avLst/>
            </a:prstGeom>
          </p:spPr>
        </p:pic>
        <p:sp>
          <p:nvSpPr>
            <p:cNvPr id="41" name="文本框 40"/>
            <p:cNvSpPr txBox="1"/>
            <p:nvPr/>
          </p:nvSpPr>
          <p:spPr>
            <a:xfrm>
              <a:off x="2011734" y="1683922"/>
              <a:ext cx="531815" cy="277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CDN</a:t>
              </a:r>
              <a:endParaRPr kumimoji="1" lang="zh-CN" altLang="en-US" sz="833" dirty="0"/>
            </a:p>
          </p:txBody>
        </p:sp>
      </p:grpSp>
      <p:grpSp>
        <p:nvGrpSpPr>
          <p:cNvPr id="78" name="组 77"/>
          <p:cNvGrpSpPr/>
          <p:nvPr/>
        </p:nvGrpSpPr>
        <p:grpSpPr>
          <a:xfrm>
            <a:off x="795123" y="4282108"/>
            <a:ext cx="434313" cy="538418"/>
            <a:chOff x="4053437" y="786838"/>
            <a:chExt cx="547448" cy="678673"/>
          </a:xfrm>
        </p:grpSpPr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53437" y="786838"/>
              <a:ext cx="465132" cy="465132"/>
            </a:xfrm>
            <a:prstGeom prst="rect">
              <a:avLst/>
            </a:prstGeom>
          </p:spPr>
        </p:pic>
        <p:sp>
          <p:nvSpPr>
            <p:cNvPr id="75" name="文本框 74"/>
            <p:cNvSpPr txBox="1"/>
            <p:nvPr/>
          </p:nvSpPr>
          <p:spPr>
            <a:xfrm>
              <a:off x="4095337" y="1187559"/>
              <a:ext cx="505548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ECS</a:t>
              </a:r>
              <a:endParaRPr kumimoji="1" lang="zh-CN" altLang="en-US" sz="833" dirty="0"/>
            </a:p>
          </p:txBody>
        </p:sp>
      </p:grpSp>
      <p:grpSp>
        <p:nvGrpSpPr>
          <p:cNvPr id="84" name="组 83"/>
          <p:cNvGrpSpPr/>
          <p:nvPr/>
        </p:nvGrpSpPr>
        <p:grpSpPr>
          <a:xfrm>
            <a:off x="1658532" y="4259384"/>
            <a:ext cx="439173" cy="549571"/>
            <a:chOff x="5365078" y="882680"/>
            <a:chExt cx="553575" cy="692731"/>
          </a:xfrm>
        </p:grpSpPr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5078" y="882680"/>
              <a:ext cx="468000" cy="468000"/>
            </a:xfrm>
            <a:prstGeom prst="rect">
              <a:avLst/>
            </a:prstGeom>
          </p:spPr>
        </p:pic>
        <p:sp>
          <p:nvSpPr>
            <p:cNvPr id="81" name="文本框 80"/>
            <p:cNvSpPr txBox="1"/>
            <p:nvPr/>
          </p:nvSpPr>
          <p:spPr>
            <a:xfrm>
              <a:off x="5396940" y="1297459"/>
              <a:ext cx="521713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RDS</a:t>
              </a:r>
              <a:endParaRPr kumimoji="1" lang="zh-CN" altLang="en-US" sz="833" dirty="0"/>
            </a:p>
          </p:txBody>
        </p:sp>
      </p:grpSp>
      <p:grpSp>
        <p:nvGrpSpPr>
          <p:cNvPr id="85" name="组 84"/>
          <p:cNvGrpSpPr/>
          <p:nvPr/>
        </p:nvGrpSpPr>
        <p:grpSpPr>
          <a:xfrm>
            <a:off x="3448848" y="4259384"/>
            <a:ext cx="474810" cy="519841"/>
            <a:chOff x="6337101" y="882263"/>
            <a:chExt cx="598495" cy="655256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39584" y="882263"/>
              <a:ext cx="465132" cy="465132"/>
            </a:xfrm>
            <a:prstGeom prst="rect">
              <a:avLst/>
            </a:prstGeom>
          </p:spPr>
        </p:pic>
        <p:sp>
          <p:nvSpPr>
            <p:cNvPr id="82" name="文本框 81"/>
            <p:cNvSpPr txBox="1"/>
            <p:nvPr/>
          </p:nvSpPr>
          <p:spPr>
            <a:xfrm>
              <a:off x="6337101" y="1259568"/>
              <a:ext cx="598495" cy="277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 err="1"/>
                <a:t>Redis</a:t>
              </a:r>
              <a:endParaRPr kumimoji="1" lang="zh-CN" altLang="en-US" sz="833" dirty="0"/>
            </a:p>
          </p:txBody>
        </p:sp>
      </p:grpSp>
      <p:grpSp>
        <p:nvGrpSpPr>
          <p:cNvPr id="86" name="组 85"/>
          <p:cNvGrpSpPr/>
          <p:nvPr/>
        </p:nvGrpSpPr>
        <p:grpSpPr>
          <a:xfrm>
            <a:off x="4367485" y="4259384"/>
            <a:ext cx="422641" cy="514710"/>
            <a:chOff x="7495215" y="854613"/>
            <a:chExt cx="532736" cy="648789"/>
          </a:xfrm>
        </p:grpSpPr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5215" y="854613"/>
              <a:ext cx="465132" cy="465132"/>
            </a:xfrm>
            <a:prstGeom prst="rect">
              <a:avLst/>
            </a:prstGeom>
          </p:spPr>
        </p:pic>
        <p:sp>
          <p:nvSpPr>
            <p:cNvPr id="83" name="文本框 82"/>
            <p:cNvSpPr txBox="1"/>
            <p:nvPr/>
          </p:nvSpPr>
          <p:spPr>
            <a:xfrm>
              <a:off x="7526444" y="1225451"/>
              <a:ext cx="501507" cy="277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VPC</a:t>
              </a:r>
              <a:endParaRPr kumimoji="1" lang="zh-CN" altLang="en-US" sz="833" dirty="0"/>
            </a:p>
          </p:txBody>
        </p:sp>
      </p:grpSp>
      <p:grpSp>
        <p:nvGrpSpPr>
          <p:cNvPr id="91" name="组 90"/>
          <p:cNvGrpSpPr/>
          <p:nvPr/>
        </p:nvGrpSpPr>
        <p:grpSpPr>
          <a:xfrm>
            <a:off x="380470" y="3031262"/>
            <a:ext cx="399468" cy="496747"/>
            <a:chOff x="4545094" y="1108130"/>
            <a:chExt cx="519537" cy="733458"/>
          </a:xfrm>
        </p:grpSpPr>
        <p:pic>
          <p:nvPicPr>
            <p:cNvPr id="88" name="图片 87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51020" y="1108130"/>
              <a:ext cx="468000" cy="468000"/>
            </a:xfrm>
            <a:prstGeom prst="rect">
              <a:avLst/>
            </a:prstGeom>
          </p:spPr>
        </p:pic>
        <p:sp>
          <p:nvSpPr>
            <p:cNvPr id="90" name="文本框 89"/>
            <p:cNvSpPr txBox="1"/>
            <p:nvPr/>
          </p:nvSpPr>
          <p:spPr>
            <a:xfrm>
              <a:off x="4545094" y="1516000"/>
              <a:ext cx="519537" cy="3255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集群</a:t>
              </a:r>
            </a:p>
          </p:txBody>
        </p:sp>
      </p:grpSp>
      <p:pic>
        <p:nvPicPr>
          <p:cNvPr id="92" name="图片 9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920" y="3097498"/>
            <a:ext cx="375726" cy="315736"/>
          </a:xfrm>
          <a:prstGeom prst="rect">
            <a:avLst/>
          </a:prstGeom>
        </p:spPr>
      </p:pic>
      <p:sp>
        <p:nvSpPr>
          <p:cNvPr id="95" name="文本框 94"/>
          <p:cNvSpPr txBox="1"/>
          <p:nvPr/>
        </p:nvSpPr>
        <p:spPr>
          <a:xfrm>
            <a:off x="344616" y="1657721"/>
            <a:ext cx="926472" cy="3120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28" dirty="0" err="1">
                <a:solidFill>
                  <a:schemeClr val="accent1">
                    <a:lumMod val="75000"/>
                  </a:schemeClr>
                </a:solidFill>
              </a:rPr>
              <a:t>ETCloud</a:t>
            </a:r>
            <a:endParaRPr kumimoji="1" lang="en-US" altLang="zh-CN" sz="1428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6" name="文本框 95"/>
          <p:cNvSpPr txBox="1"/>
          <p:nvPr/>
        </p:nvSpPr>
        <p:spPr>
          <a:xfrm>
            <a:off x="2377364" y="2549074"/>
            <a:ext cx="1245854" cy="3120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28" dirty="0" err="1">
                <a:solidFill>
                  <a:schemeClr val="tx2">
                    <a:lumMod val="40000"/>
                    <a:lumOff val="60000"/>
                  </a:schemeClr>
                </a:solidFill>
              </a:rPr>
              <a:t>Zull</a:t>
            </a:r>
            <a:r>
              <a:rPr kumimoji="1" lang="en-US" altLang="zh-CN" sz="1428" dirty="0">
                <a:solidFill>
                  <a:schemeClr val="tx2">
                    <a:lumMod val="40000"/>
                    <a:lumOff val="60000"/>
                  </a:schemeClr>
                </a:solidFill>
              </a:rPr>
              <a:t>/Eureka</a:t>
            </a:r>
            <a:endParaRPr kumimoji="1" lang="zh-CN" altLang="en-US" sz="1428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6192037" y="1714848"/>
            <a:ext cx="726046" cy="20565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kumimoji="1" lang="zh-CN" altLang="en-US" sz="1428" dirty="0">
              <a:solidFill>
                <a:schemeClr val="tx1"/>
              </a:solidFill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6288830" y="1886228"/>
            <a:ext cx="536302" cy="36117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73" dirty="0"/>
              <a:t>行为</a:t>
            </a:r>
            <a:endParaRPr kumimoji="1" lang="en-US" altLang="zh-CN" sz="873" dirty="0"/>
          </a:p>
          <a:p>
            <a:pPr algn="ctr"/>
            <a:r>
              <a:rPr kumimoji="1" lang="zh-CN" altLang="en-US" sz="873" dirty="0"/>
              <a:t>日志</a:t>
            </a:r>
          </a:p>
        </p:txBody>
      </p:sp>
      <p:sp>
        <p:nvSpPr>
          <p:cNvPr id="104" name="矩形 103"/>
          <p:cNvSpPr/>
          <p:nvPr/>
        </p:nvSpPr>
        <p:spPr>
          <a:xfrm>
            <a:off x="6288830" y="2610468"/>
            <a:ext cx="536302" cy="36117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73" dirty="0"/>
              <a:t>业务</a:t>
            </a:r>
            <a:endParaRPr kumimoji="1" lang="en-US" altLang="zh-CN" sz="873" dirty="0"/>
          </a:p>
          <a:p>
            <a:pPr algn="ctr"/>
            <a:r>
              <a:rPr kumimoji="1" lang="zh-CN" altLang="en-US" sz="873" dirty="0"/>
              <a:t>日志</a:t>
            </a:r>
          </a:p>
        </p:txBody>
      </p:sp>
      <p:sp>
        <p:nvSpPr>
          <p:cNvPr id="105" name="矩形 104"/>
          <p:cNvSpPr/>
          <p:nvPr/>
        </p:nvSpPr>
        <p:spPr>
          <a:xfrm>
            <a:off x="6288830" y="3238863"/>
            <a:ext cx="536302" cy="36117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73" dirty="0"/>
              <a:t>系统</a:t>
            </a:r>
            <a:endParaRPr kumimoji="1" lang="en-US" altLang="zh-CN" sz="873" dirty="0"/>
          </a:p>
          <a:p>
            <a:pPr algn="ctr"/>
            <a:r>
              <a:rPr kumimoji="1" lang="zh-CN" altLang="en-US" sz="873" dirty="0"/>
              <a:t>日志</a:t>
            </a:r>
          </a:p>
        </p:txBody>
      </p:sp>
      <p:sp>
        <p:nvSpPr>
          <p:cNvPr id="106" name="右箭头 105"/>
          <p:cNvSpPr/>
          <p:nvPr/>
        </p:nvSpPr>
        <p:spPr>
          <a:xfrm>
            <a:off x="5889801" y="2610290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07" name="右箭头 106"/>
          <p:cNvSpPr/>
          <p:nvPr/>
        </p:nvSpPr>
        <p:spPr>
          <a:xfrm>
            <a:off x="7065207" y="2041401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08" name="右箭头 107"/>
          <p:cNvSpPr/>
          <p:nvPr/>
        </p:nvSpPr>
        <p:spPr>
          <a:xfrm>
            <a:off x="7093714" y="2726350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09" name="右箭头 108"/>
          <p:cNvSpPr/>
          <p:nvPr/>
        </p:nvSpPr>
        <p:spPr>
          <a:xfrm>
            <a:off x="7093714" y="3411872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grpSp>
        <p:nvGrpSpPr>
          <p:cNvPr id="127" name="组 126"/>
          <p:cNvGrpSpPr/>
          <p:nvPr/>
        </p:nvGrpSpPr>
        <p:grpSpPr>
          <a:xfrm>
            <a:off x="5428904" y="2509935"/>
            <a:ext cx="614271" cy="631787"/>
            <a:chOff x="6620238" y="3163757"/>
            <a:chExt cx="774284" cy="796364"/>
          </a:xfrm>
        </p:grpSpPr>
        <p:pic>
          <p:nvPicPr>
            <p:cNvPr id="97" name="图片 96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7141" y="3163757"/>
              <a:ext cx="468000" cy="468000"/>
            </a:xfrm>
            <a:prstGeom prst="rect">
              <a:avLst/>
            </a:prstGeom>
          </p:spPr>
        </p:pic>
        <p:sp>
          <p:nvSpPr>
            <p:cNvPr id="110" name="文本框 109"/>
            <p:cNvSpPr txBox="1"/>
            <p:nvPr/>
          </p:nvSpPr>
          <p:spPr>
            <a:xfrm>
              <a:off x="6620238" y="3682169"/>
              <a:ext cx="774284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日志收集</a:t>
              </a:r>
            </a:p>
          </p:txBody>
        </p:sp>
      </p:grpSp>
      <p:grpSp>
        <p:nvGrpSpPr>
          <p:cNvPr id="122" name="组 121"/>
          <p:cNvGrpSpPr/>
          <p:nvPr/>
        </p:nvGrpSpPr>
        <p:grpSpPr>
          <a:xfrm>
            <a:off x="7337896" y="1848592"/>
            <a:ext cx="614271" cy="569040"/>
            <a:chOff x="9026509" y="2330138"/>
            <a:chExt cx="774284" cy="717272"/>
          </a:xfrm>
        </p:grpSpPr>
        <p:pic>
          <p:nvPicPr>
            <p:cNvPr id="100" name="图片 99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8892" y="2330138"/>
              <a:ext cx="468000" cy="468000"/>
            </a:xfrm>
            <a:prstGeom prst="rect">
              <a:avLst/>
            </a:prstGeom>
          </p:spPr>
        </p:pic>
        <p:sp>
          <p:nvSpPr>
            <p:cNvPr id="111" name="文本框 110"/>
            <p:cNvSpPr txBox="1"/>
            <p:nvPr/>
          </p:nvSpPr>
          <p:spPr>
            <a:xfrm>
              <a:off x="9026509" y="2769458"/>
              <a:ext cx="774284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行为分析</a:t>
              </a:r>
            </a:p>
          </p:txBody>
        </p:sp>
      </p:grpSp>
      <p:grpSp>
        <p:nvGrpSpPr>
          <p:cNvPr id="120" name="组 119"/>
          <p:cNvGrpSpPr/>
          <p:nvPr/>
        </p:nvGrpSpPr>
        <p:grpSpPr>
          <a:xfrm>
            <a:off x="7422691" y="2484295"/>
            <a:ext cx="702830" cy="371283"/>
            <a:chOff x="9133399" y="3059430"/>
            <a:chExt cx="885913" cy="468000"/>
          </a:xfrm>
        </p:grpSpPr>
        <p:pic>
          <p:nvPicPr>
            <p:cNvPr id="98" name="图片 97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33399" y="3059430"/>
              <a:ext cx="468000" cy="468000"/>
            </a:xfrm>
            <a:prstGeom prst="rect">
              <a:avLst/>
            </a:prstGeom>
          </p:spPr>
        </p:pic>
        <p:sp>
          <p:nvSpPr>
            <p:cNvPr id="112" name="文本框 111"/>
            <p:cNvSpPr txBox="1"/>
            <p:nvPr/>
          </p:nvSpPr>
          <p:spPr>
            <a:xfrm>
              <a:off x="9515785" y="3163296"/>
              <a:ext cx="503527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查询</a:t>
              </a:r>
            </a:p>
          </p:txBody>
        </p:sp>
      </p:grpSp>
      <p:grpSp>
        <p:nvGrpSpPr>
          <p:cNvPr id="121" name="组 120"/>
          <p:cNvGrpSpPr/>
          <p:nvPr/>
        </p:nvGrpSpPr>
        <p:grpSpPr>
          <a:xfrm>
            <a:off x="7432223" y="2911892"/>
            <a:ext cx="724837" cy="345380"/>
            <a:chOff x="9145413" y="3709780"/>
            <a:chExt cx="913653" cy="435349"/>
          </a:xfrm>
        </p:grpSpPr>
        <p:pic>
          <p:nvPicPr>
            <p:cNvPr id="99" name="图片 98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5413" y="3709780"/>
              <a:ext cx="468000" cy="435349"/>
            </a:xfrm>
            <a:prstGeom prst="rect">
              <a:avLst/>
            </a:prstGeom>
          </p:spPr>
        </p:pic>
        <p:sp>
          <p:nvSpPr>
            <p:cNvPr id="113" name="文本框 112"/>
            <p:cNvSpPr txBox="1"/>
            <p:nvPr/>
          </p:nvSpPr>
          <p:spPr>
            <a:xfrm>
              <a:off x="9555539" y="3809127"/>
              <a:ext cx="503527" cy="277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归档</a:t>
              </a:r>
            </a:p>
          </p:txBody>
        </p:sp>
      </p:grpSp>
      <p:grpSp>
        <p:nvGrpSpPr>
          <p:cNvPr id="123" name="组 122"/>
          <p:cNvGrpSpPr/>
          <p:nvPr/>
        </p:nvGrpSpPr>
        <p:grpSpPr>
          <a:xfrm>
            <a:off x="7419116" y="3343004"/>
            <a:ext cx="511279" cy="537133"/>
            <a:chOff x="9128892" y="4213835"/>
            <a:chExt cx="644465" cy="677053"/>
          </a:xfrm>
        </p:grpSpPr>
        <p:pic>
          <p:nvPicPr>
            <p:cNvPr id="101" name="图片 100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8892" y="4213835"/>
              <a:ext cx="468000" cy="468000"/>
            </a:xfrm>
            <a:prstGeom prst="rect">
              <a:avLst/>
            </a:prstGeom>
          </p:spPr>
        </p:pic>
        <p:sp>
          <p:nvSpPr>
            <p:cNvPr id="114" name="文本框 113"/>
            <p:cNvSpPr txBox="1"/>
            <p:nvPr/>
          </p:nvSpPr>
          <p:spPr>
            <a:xfrm>
              <a:off x="9148594" y="4612936"/>
              <a:ext cx="624763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ARMS</a:t>
              </a:r>
              <a:endParaRPr kumimoji="1" lang="zh-CN" altLang="en-US" sz="833" dirty="0"/>
            </a:p>
          </p:txBody>
        </p:sp>
      </p:grpSp>
      <p:sp>
        <p:nvSpPr>
          <p:cNvPr id="115" name="右箭头 114"/>
          <p:cNvSpPr/>
          <p:nvPr/>
        </p:nvSpPr>
        <p:spPr>
          <a:xfrm>
            <a:off x="7912037" y="2041401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16" name="右箭头 115"/>
          <p:cNvSpPr/>
          <p:nvPr/>
        </p:nvSpPr>
        <p:spPr>
          <a:xfrm>
            <a:off x="7983353" y="3411872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17" name="矩形 116"/>
          <p:cNvSpPr/>
          <p:nvPr/>
        </p:nvSpPr>
        <p:spPr>
          <a:xfrm>
            <a:off x="8359892" y="3307500"/>
            <a:ext cx="536302" cy="36117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73" dirty="0"/>
              <a:t>实时</a:t>
            </a:r>
            <a:endParaRPr kumimoji="1" lang="en-US" altLang="zh-CN" sz="873" dirty="0"/>
          </a:p>
          <a:p>
            <a:pPr algn="ctr"/>
            <a:r>
              <a:rPr kumimoji="1" lang="zh-CN" altLang="en-US" sz="873" dirty="0"/>
              <a:t>运维</a:t>
            </a:r>
            <a:endParaRPr kumimoji="1" lang="en-US" altLang="zh-CN" sz="873" dirty="0"/>
          </a:p>
        </p:txBody>
      </p:sp>
      <p:sp>
        <p:nvSpPr>
          <p:cNvPr id="118" name="矩形 117"/>
          <p:cNvSpPr/>
          <p:nvPr/>
        </p:nvSpPr>
        <p:spPr>
          <a:xfrm>
            <a:off x="8346254" y="1809711"/>
            <a:ext cx="536302" cy="228505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73" dirty="0"/>
              <a:t>推荐</a:t>
            </a:r>
            <a:endParaRPr kumimoji="1" lang="en-US" altLang="zh-CN" sz="873" dirty="0"/>
          </a:p>
        </p:txBody>
      </p:sp>
      <p:sp>
        <p:nvSpPr>
          <p:cNvPr id="119" name="矩形 118"/>
          <p:cNvSpPr/>
          <p:nvPr/>
        </p:nvSpPr>
        <p:spPr>
          <a:xfrm>
            <a:off x="8346254" y="2225360"/>
            <a:ext cx="536302" cy="232136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873" dirty="0"/>
              <a:t>搜索</a:t>
            </a:r>
            <a:endParaRPr kumimoji="1" lang="en-US" altLang="zh-CN" sz="873" dirty="0"/>
          </a:p>
        </p:txBody>
      </p:sp>
      <p:grpSp>
        <p:nvGrpSpPr>
          <p:cNvPr id="131" name="组 130"/>
          <p:cNvGrpSpPr/>
          <p:nvPr/>
        </p:nvGrpSpPr>
        <p:grpSpPr>
          <a:xfrm>
            <a:off x="5597750" y="4232878"/>
            <a:ext cx="614271" cy="590742"/>
            <a:chOff x="7053986" y="5505765"/>
            <a:chExt cx="774284" cy="744627"/>
          </a:xfrm>
        </p:grpSpPr>
        <p:pic>
          <p:nvPicPr>
            <p:cNvPr id="125" name="图片 124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3971" y="5505765"/>
              <a:ext cx="468000" cy="468000"/>
            </a:xfrm>
            <a:prstGeom prst="rect">
              <a:avLst/>
            </a:prstGeom>
          </p:spPr>
        </p:pic>
        <p:sp>
          <p:nvSpPr>
            <p:cNvPr id="128" name="文本框 127"/>
            <p:cNvSpPr txBox="1"/>
            <p:nvPr/>
          </p:nvSpPr>
          <p:spPr>
            <a:xfrm>
              <a:off x="7053986" y="5972440"/>
              <a:ext cx="774284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商业数据</a:t>
              </a:r>
            </a:p>
          </p:txBody>
        </p:sp>
      </p:grpSp>
      <p:grpSp>
        <p:nvGrpSpPr>
          <p:cNvPr id="132" name="组 131"/>
          <p:cNvGrpSpPr/>
          <p:nvPr/>
        </p:nvGrpSpPr>
        <p:grpSpPr>
          <a:xfrm>
            <a:off x="6679746" y="4228428"/>
            <a:ext cx="614271" cy="591793"/>
            <a:chOff x="8239898" y="5509979"/>
            <a:chExt cx="774284" cy="745952"/>
          </a:xfrm>
        </p:grpSpPr>
        <p:pic>
          <p:nvPicPr>
            <p:cNvPr id="126" name="图片 125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9118" y="5509979"/>
              <a:ext cx="468000" cy="468000"/>
            </a:xfrm>
            <a:prstGeom prst="rect">
              <a:avLst/>
            </a:prstGeom>
          </p:spPr>
        </p:pic>
        <p:sp>
          <p:nvSpPr>
            <p:cNvPr id="129" name="文本框 128"/>
            <p:cNvSpPr txBox="1"/>
            <p:nvPr/>
          </p:nvSpPr>
          <p:spPr>
            <a:xfrm>
              <a:off x="8239898" y="5977979"/>
              <a:ext cx="774284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数据仓库</a:t>
              </a:r>
            </a:p>
          </p:txBody>
        </p:sp>
      </p:grpSp>
      <p:grpSp>
        <p:nvGrpSpPr>
          <p:cNvPr id="133" name="组 132"/>
          <p:cNvGrpSpPr/>
          <p:nvPr/>
        </p:nvGrpSpPr>
        <p:grpSpPr>
          <a:xfrm>
            <a:off x="7730872" y="4228428"/>
            <a:ext cx="732893" cy="546438"/>
            <a:chOff x="9361437" y="5457249"/>
            <a:chExt cx="923807" cy="688782"/>
          </a:xfrm>
        </p:grpSpPr>
        <p:pic>
          <p:nvPicPr>
            <p:cNvPr id="124" name="图片 123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1509" y="5457249"/>
              <a:ext cx="468000" cy="468000"/>
            </a:xfrm>
            <a:prstGeom prst="rect">
              <a:avLst/>
            </a:prstGeom>
          </p:spPr>
        </p:pic>
        <p:sp>
          <p:nvSpPr>
            <p:cNvPr id="130" name="文本框 129"/>
            <p:cNvSpPr txBox="1"/>
            <p:nvPr/>
          </p:nvSpPr>
          <p:spPr>
            <a:xfrm>
              <a:off x="9361437" y="5868079"/>
              <a:ext cx="923807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833" dirty="0"/>
                <a:t>数据分析</a:t>
              </a:r>
              <a:r>
                <a:rPr kumimoji="1" lang="en-US" altLang="zh-CN" sz="833" dirty="0"/>
                <a:t>BI</a:t>
              </a:r>
              <a:endParaRPr kumimoji="1" lang="zh-CN" altLang="en-US" sz="833" dirty="0"/>
            </a:p>
          </p:txBody>
        </p:sp>
      </p:grpSp>
      <p:sp>
        <p:nvSpPr>
          <p:cNvPr id="134" name="右箭头 133"/>
          <p:cNvSpPr/>
          <p:nvPr/>
        </p:nvSpPr>
        <p:spPr>
          <a:xfrm>
            <a:off x="6309400" y="4359299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35" name="右箭头 134"/>
          <p:cNvSpPr/>
          <p:nvPr/>
        </p:nvSpPr>
        <p:spPr>
          <a:xfrm>
            <a:off x="7407127" y="4377510"/>
            <a:ext cx="205709" cy="18816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cxnSp>
        <p:nvCxnSpPr>
          <p:cNvPr id="137" name="直线连接符 136"/>
          <p:cNvCxnSpPr/>
          <p:nvPr/>
        </p:nvCxnSpPr>
        <p:spPr>
          <a:xfrm>
            <a:off x="5312346" y="520305"/>
            <a:ext cx="59430" cy="4511386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9" name="直线连接符 138"/>
          <p:cNvCxnSpPr/>
          <p:nvPr/>
        </p:nvCxnSpPr>
        <p:spPr>
          <a:xfrm flipH="1">
            <a:off x="116109" y="1551227"/>
            <a:ext cx="891178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4" name="直线连接符 143"/>
          <p:cNvCxnSpPr/>
          <p:nvPr/>
        </p:nvCxnSpPr>
        <p:spPr>
          <a:xfrm flipH="1">
            <a:off x="5371460" y="3937175"/>
            <a:ext cx="3656432" cy="561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2" name="文本框 151"/>
          <p:cNvSpPr txBox="1"/>
          <p:nvPr/>
        </p:nvSpPr>
        <p:spPr>
          <a:xfrm>
            <a:off x="8014891" y="1174155"/>
            <a:ext cx="915635" cy="3120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28" dirty="0">
                <a:solidFill>
                  <a:schemeClr val="accent1">
                    <a:lumMod val="75000"/>
                  </a:schemeClr>
                </a:solidFill>
              </a:rPr>
              <a:t>异构环境</a:t>
            </a:r>
            <a:endParaRPr kumimoji="1" lang="en-US" altLang="zh-CN" sz="1428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53" name="左右箭头 152"/>
          <p:cNvSpPr/>
          <p:nvPr/>
        </p:nvSpPr>
        <p:spPr>
          <a:xfrm>
            <a:off x="5115973" y="861029"/>
            <a:ext cx="397352" cy="224205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grpSp>
        <p:nvGrpSpPr>
          <p:cNvPr id="158" name="组 157"/>
          <p:cNvGrpSpPr/>
          <p:nvPr/>
        </p:nvGrpSpPr>
        <p:grpSpPr>
          <a:xfrm>
            <a:off x="4303919" y="720186"/>
            <a:ext cx="872355" cy="656509"/>
            <a:chOff x="4930542" y="865411"/>
            <a:chExt cx="1099598" cy="827526"/>
          </a:xfrm>
        </p:grpSpPr>
        <p:pic>
          <p:nvPicPr>
            <p:cNvPr id="154" name="图片 153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4971" y="865411"/>
              <a:ext cx="468000" cy="406825"/>
            </a:xfrm>
            <a:prstGeom prst="rect">
              <a:avLst/>
            </a:prstGeom>
          </p:spPr>
        </p:pic>
        <p:sp>
          <p:nvSpPr>
            <p:cNvPr id="157" name="文本框 156"/>
            <p:cNvSpPr txBox="1"/>
            <p:nvPr/>
          </p:nvSpPr>
          <p:spPr>
            <a:xfrm>
              <a:off x="4930542" y="1253421"/>
              <a:ext cx="1099598" cy="4395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zh-CN" sz="833" dirty="0"/>
                <a:t>Gateway</a:t>
              </a:r>
              <a:r>
                <a:rPr kumimoji="1" lang="zh-CN" altLang="en-US" sz="833" dirty="0"/>
                <a:t> </a:t>
              </a:r>
              <a:r>
                <a:rPr kumimoji="1" lang="en-US" altLang="zh-CN" sz="833" dirty="0"/>
                <a:t>API</a:t>
              </a:r>
            </a:p>
            <a:p>
              <a:pPr algn="ctr"/>
              <a:r>
                <a:rPr kumimoji="1" lang="en-US" altLang="zh-CN" sz="833" dirty="0"/>
                <a:t>Restful</a:t>
              </a:r>
              <a:endParaRPr kumimoji="1" lang="zh-CN" altLang="en-US" sz="833" dirty="0"/>
            </a:p>
          </p:txBody>
        </p:sp>
      </p:grpSp>
      <p:grpSp>
        <p:nvGrpSpPr>
          <p:cNvPr id="161" name="组 160"/>
          <p:cNvGrpSpPr/>
          <p:nvPr/>
        </p:nvGrpSpPr>
        <p:grpSpPr>
          <a:xfrm>
            <a:off x="5549996" y="687275"/>
            <a:ext cx="772969" cy="581705"/>
            <a:chOff x="7246967" y="1116672"/>
            <a:chExt cx="974323" cy="733236"/>
          </a:xfrm>
        </p:grpSpPr>
        <p:pic>
          <p:nvPicPr>
            <p:cNvPr id="159" name="图片 158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6119" y="1116672"/>
              <a:ext cx="468000" cy="468000"/>
            </a:xfrm>
            <a:prstGeom prst="rect">
              <a:avLst/>
            </a:prstGeom>
          </p:spPr>
        </p:pic>
        <p:sp>
          <p:nvSpPr>
            <p:cNvPr id="160" name="文本框 159"/>
            <p:cNvSpPr txBox="1"/>
            <p:nvPr/>
          </p:nvSpPr>
          <p:spPr>
            <a:xfrm>
              <a:off x="7246967" y="1571956"/>
              <a:ext cx="974323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Restful</a:t>
              </a:r>
              <a:r>
                <a:rPr kumimoji="1" lang="zh-CN" altLang="en-US" sz="833" dirty="0"/>
                <a:t> </a:t>
              </a:r>
              <a:r>
                <a:rPr kumimoji="1" lang="en-US" altLang="zh-CN" sz="833" dirty="0"/>
                <a:t>API</a:t>
              </a:r>
              <a:endParaRPr kumimoji="1" lang="zh-CN" altLang="en-US" sz="833" dirty="0"/>
            </a:p>
          </p:txBody>
        </p:sp>
      </p:grpSp>
      <p:grpSp>
        <p:nvGrpSpPr>
          <p:cNvPr id="8" name="组 7"/>
          <p:cNvGrpSpPr/>
          <p:nvPr/>
        </p:nvGrpSpPr>
        <p:grpSpPr>
          <a:xfrm>
            <a:off x="6764257" y="714172"/>
            <a:ext cx="482454" cy="591528"/>
            <a:chOff x="8203446" y="863909"/>
            <a:chExt cx="608130" cy="745618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6194" y="1093128"/>
              <a:ext cx="223585" cy="223585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03446" y="863909"/>
              <a:ext cx="485958" cy="468000"/>
            </a:xfrm>
            <a:prstGeom prst="rect">
              <a:avLst/>
            </a:prstGeom>
          </p:spPr>
        </p:pic>
        <p:sp>
          <p:nvSpPr>
            <p:cNvPr id="93" name="文本框 92"/>
            <p:cNvSpPr txBox="1"/>
            <p:nvPr/>
          </p:nvSpPr>
          <p:spPr>
            <a:xfrm>
              <a:off x="8269657" y="1331575"/>
              <a:ext cx="541919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DMS</a:t>
              </a:r>
              <a:endParaRPr kumimoji="1" lang="zh-CN" altLang="en-US" sz="833" dirty="0"/>
            </a:p>
          </p:txBody>
        </p:sp>
      </p:grpSp>
      <p:grpSp>
        <p:nvGrpSpPr>
          <p:cNvPr id="7" name="组 6"/>
          <p:cNvGrpSpPr/>
          <p:nvPr/>
        </p:nvGrpSpPr>
        <p:grpSpPr>
          <a:xfrm>
            <a:off x="7427703" y="748072"/>
            <a:ext cx="465871" cy="593964"/>
            <a:chOff x="9741728" y="700867"/>
            <a:chExt cx="587228" cy="76266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3096" y="700867"/>
              <a:ext cx="535860" cy="468000"/>
            </a:xfrm>
            <a:prstGeom prst="rect">
              <a:avLst/>
            </a:prstGeom>
          </p:spPr>
        </p:pic>
        <p:sp>
          <p:nvSpPr>
            <p:cNvPr id="136" name="文本框 135"/>
            <p:cNvSpPr txBox="1"/>
            <p:nvPr/>
          </p:nvSpPr>
          <p:spPr>
            <a:xfrm>
              <a:off x="9741728" y="1180388"/>
              <a:ext cx="533837" cy="2831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zh-CN" sz="833"/>
                <a:t>CRM</a:t>
              </a:r>
              <a:endParaRPr kumimoji="1" lang="zh-CN" altLang="en-US" sz="833" dirty="0"/>
            </a:p>
          </p:txBody>
        </p:sp>
      </p:grpSp>
      <p:grpSp>
        <p:nvGrpSpPr>
          <p:cNvPr id="6" name="组 5"/>
          <p:cNvGrpSpPr/>
          <p:nvPr/>
        </p:nvGrpSpPr>
        <p:grpSpPr>
          <a:xfrm>
            <a:off x="2572685" y="4276801"/>
            <a:ext cx="438327" cy="520892"/>
            <a:chOff x="4885566" y="270035"/>
            <a:chExt cx="552508" cy="656581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5566" y="270035"/>
              <a:ext cx="468000" cy="468000"/>
            </a:xfrm>
            <a:prstGeom prst="rect">
              <a:avLst/>
            </a:prstGeom>
          </p:spPr>
        </p:pic>
        <p:sp>
          <p:nvSpPr>
            <p:cNvPr id="138" name="文本框 137"/>
            <p:cNvSpPr txBox="1"/>
            <p:nvPr/>
          </p:nvSpPr>
          <p:spPr>
            <a:xfrm>
              <a:off x="4914341" y="648665"/>
              <a:ext cx="523733" cy="277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OSS</a:t>
              </a:r>
              <a:endParaRPr kumimoji="1" lang="zh-CN" altLang="en-US" sz="833" dirty="0"/>
            </a:p>
          </p:txBody>
        </p:sp>
      </p:grpSp>
    </p:spTree>
    <p:extLst>
      <p:ext uri="{BB962C8B-B14F-4D97-AF65-F5344CB8AC3E}">
        <p14:creationId xmlns:p14="http://schemas.microsoft.com/office/powerpoint/2010/main" val="2144102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>
            <p:ph type="ctrTitle"/>
          </p:nvPr>
        </p:nvSpPr>
        <p:spPr>
          <a:xfrm>
            <a:off x="508276" y="119000"/>
            <a:ext cx="8191500" cy="396875"/>
          </a:xfrm>
        </p:spPr>
        <p:txBody>
          <a:bodyPr/>
          <a:lstStyle/>
          <a:p>
            <a:r>
              <a:rPr lang="en-US" altLang="zh-CN" dirty="0" smtClean="0">
                <a:latin typeface="+mj-ea"/>
                <a:ea typeface="+mj-ea"/>
              </a:rPr>
              <a:t>3.8 </a:t>
            </a:r>
            <a:r>
              <a:rPr lang="zh-CN" altLang="en-US" dirty="0" smtClean="0">
                <a:latin typeface="+mj-ea"/>
                <a:ea typeface="+mj-ea"/>
              </a:rPr>
              <a:t>后端技术体系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89" name="云形 88"/>
          <p:cNvSpPr/>
          <p:nvPr/>
        </p:nvSpPr>
        <p:spPr>
          <a:xfrm>
            <a:off x="173235" y="2012171"/>
            <a:ext cx="571268" cy="285634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 dirty="0"/>
          </a:p>
        </p:txBody>
      </p:sp>
      <p:grpSp>
        <p:nvGrpSpPr>
          <p:cNvPr id="93" name="组 92"/>
          <p:cNvGrpSpPr/>
          <p:nvPr/>
        </p:nvGrpSpPr>
        <p:grpSpPr>
          <a:xfrm>
            <a:off x="3381244" y="1751263"/>
            <a:ext cx="2227946" cy="971156"/>
            <a:chOff x="3528789" y="361356"/>
            <a:chExt cx="2808312" cy="1224136"/>
          </a:xfrm>
        </p:grpSpPr>
        <p:sp>
          <p:nvSpPr>
            <p:cNvPr id="136" name="矩形 135"/>
            <p:cNvSpPr/>
            <p:nvPr/>
          </p:nvSpPr>
          <p:spPr>
            <a:xfrm>
              <a:off x="3528789" y="361356"/>
              <a:ext cx="2808312" cy="1224136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873" dirty="0"/>
                <a:t>服务注册与发现中心</a:t>
              </a:r>
              <a:endParaRPr kumimoji="1" lang="en-US" altLang="zh-CN" sz="873" dirty="0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4335060" y="446000"/>
              <a:ext cx="1048419" cy="404318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Eureka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Server1</a:t>
              </a:r>
              <a:endParaRPr kumimoji="1" lang="zh-CN" altLang="en-US" sz="873" dirty="0"/>
            </a:p>
          </p:txBody>
        </p:sp>
        <p:sp>
          <p:nvSpPr>
            <p:cNvPr id="140" name="矩形 139"/>
            <p:cNvSpPr/>
            <p:nvPr/>
          </p:nvSpPr>
          <p:spPr>
            <a:xfrm>
              <a:off x="5070098" y="1123593"/>
              <a:ext cx="1048419" cy="404318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Eureka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Server3</a:t>
              </a:r>
              <a:endParaRPr kumimoji="1" lang="zh-CN" altLang="en-US" sz="873" dirty="0"/>
            </a:p>
          </p:txBody>
        </p:sp>
        <p:sp>
          <p:nvSpPr>
            <p:cNvPr id="141" name="矩形 140"/>
            <p:cNvSpPr/>
            <p:nvPr/>
          </p:nvSpPr>
          <p:spPr>
            <a:xfrm>
              <a:off x="3660099" y="1123593"/>
              <a:ext cx="1048419" cy="404318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Eureka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Server2</a:t>
              </a:r>
              <a:endParaRPr kumimoji="1" lang="zh-CN" altLang="en-US" sz="873" dirty="0"/>
            </a:p>
          </p:txBody>
        </p:sp>
      </p:grpSp>
      <p:grpSp>
        <p:nvGrpSpPr>
          <p:cNvPr id="142" name="组 141"/>
          <p:cNvGrpSpPr/>
          <p:nvPr/>
        </p:nvGrpSpPr>
        <p:grpSpPr>
          <a:xfrm>
            <a:off x="1248244" y="1744075"/>
            <a:ext cx="1371044" cy="954662"/>
            <a:chOff x="1728588" y="2233563"/>
            <a:chExt cx="1728193" cy="1203346"/>
          </a:xfrm>
        </p:grpSpPr>
        <p:sp>
          <p:nvSpPr>
            <p:cNvPr id="143" name="矩形 142"/>
            <p:cNvSpPr/>
            <p:nvPr/>
          </p:nvSpPr>
          <p:spPr>
            <a:xfrm>
              <a:off x="1728588" y="2233563"/>
              <a:ext cx="1728193" cy="1203346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kumimoji="1" lang="zh-CN" altLang="en-US" sz="873" dirty="0"/>
                <a:t>路由与过滤</a:t>
              </a:r>
              <a:endParaRPr kumimoji="1" lang="en-US" altLang="zh-CN" sz="873" dirty="0"/>
            </a:p>
            <a:p>
              <a:pPr algn="ctr"/>
              <a:r>
                <a:rPr kumimoji="1" lang="en-US" altLang="zh-CN" sz="873" dirty="0" err="1"/>
                <a:t>zuul</a:t>
              </a:r>
              <a:endParaRPr kumimoji="1" lang="zh-CN" altLang="en-US" sz="873" dirty="0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1820855" y="2737619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/>
                <a:t>N1</a:t>
              </a:r>
              <a:endParaRPr kumimoji="1" lang="en-US" altLang="zh-CN" sz="873" dirty="0"/>
            </a:p>
          </p:txBody>
        </p:sp>
        <p:sp>
          <p:nvSpPr>
            <p:cNvPr id="146" name="矩形 145"/>
            <p:cNvSpPr/>
            <p:nvPr/>
          </p:nvSpPr>
          <p:spPr>
            <a:xfrm>
              <a:off x="2335303" y="2737619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N2</a:t>
              </a:r>
            </a:p>
          </p:txBody>
        </p:sp>
        <p:sp>
          <p:nvSpPr>
            <p:cNvPr id="147" name="矩形 146"/>
            <p:cNvSpPr/>
            <p:nvPr/>
          </p:nvSpPr>
          <p:spPr>
            <a:xfrm>
              <a:off x="2839359" y="2737619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N..</a:t>
              </a:r>
            </a:p>
          </p:txBody>
        </p:sp>
      </p:grpSp>
      <p:grpSp>
        <p:nvGrpSpPr>
          <p:cNvPr id="148" name="组 147"/>
          <p:cNvGrpSpPr/>
          <p:nvPr/>
        </p:nvGrpSpPr>
        <p:grpSpPr>
          <a:xfrm>
            <a:off x="6772271" y="1744074"/>
            <a:ext cx="1885185" cy="940409"/>
            <a:chOff x="8713365" y="2003733"/>
            <a:chExt cx="2376264" cy="1185380"/>
          </a:xfrm>
        </p:grpSpPr>
        <p:grpSp>
          <p:nvGrpSpPr>
            <p:cNvPr id="149" name="组 148"/>
            <p:cNvGrpSpPr/>
            <p:nvPr/>
          </p:nvGrpSpPr>
          <p:grpSpPr>
            <a:xfrm>
              <a:off x="8713365" y="2003733"/>
              <a:ext cx="1656184" cy="1185380"/>
              <a:chOff x="7921278" y="4825851"/>
              <a:chExt cx="1656184" cy="1080120"/>
            </a:xfrm>
          </p:grpSpPr>
          <p:sp>
            <p:nvSpPr>
              <p:cNvPr id="156" name="矩形 155"/>
              <p:cNvSpPr/>
              <p:nvPr/>
            </p:nvSpPr>
            <p:spPr>
              <a:xfrm>
                <a:off x="7921278" y="4825851"/>
                <a:ext cx="1656184" cy="1080120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kumimoji="1" lang="en-US" altLang="zh-CN" sz="873" dirty="0" err="1"/>
                  <a:t>Config</a:t>
                </a:r>
                <a:r>
                  <a:rPr kumimoji="1" lang="zh-CN" altLang="en-US" sz="873" dirty="0"/>
                  <a:t> </a:t>
                </a:r>
                <a:r>
                  <a:rPr kumimoji="1" lang="en-US" altLang="zh-CN" sz="873" dirty="0"/>
                  <a:t>Server</a:t>
                </a:r>
              </a:p>
            </p:txBody>
          </p:sp>
          <p:sp>
            <p:nvSpPr>
              <p:cNvPr id="162" name="矩形 161"/>
              <p:cNvSpPr/>
              <p:nvPr/>
            </p:nvSpPr>
            <p:spPr>
              <a:xfrm>
                <a:off x="8017624" y="5257899"/>
                <a:ext cx="421656" cy="576064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73"/>
                  <a:t>N1</a:t>
                </a:r>
                <a:endParaRPr kumimoji="1" lang="en-US" altLang="zh-CN" sz="873" dirty="0"/>
              </a:p>
            </p:txBody>
          </p:sp>
          <p:sp>
            <p:nvSpPr>
              <p:cNvPr id="163" name="矩形 162"/>
              <p:cNvSpPr/>
              <p:nvPr/>
            </p:nvSpPr>
            <p:spPr>
              <a:xfrm>
                <a:off x="8532072" y="5257899"/>
                <a:ext cx="421656" cy="576064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73" dirty="0"/>
                  <a:t>N2</a:t>
                </a:r>
              </a:p>
            </p:txBody>
          </p:sp>
          <p:sp>
            <p:nvSpPr>
              <p:cNvPr id="164" name="矩形 163"/>
              <p:cNvSpPr/>
              <p:nvPr/>
            </p:nvSpPr>
            <p:spPr>
              <a:xfrm>
                <a:off x="9036128" y="5257899"/>
                <a:ext cx="421656" cy="576064"/>
              </a:xfrm>
              <a:prstGeom prst="rect">
                <a:avLst/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73" dirty="0"/>
                  <a:t>N..</a:t>
                </a:r>
              </a:p>
            </p:txBody>
          </p:sp>
        </p:grpSp>
        <p:grpSp>
          <p:nvGrpSpPr>
            <p:cNvPr id="150" name="组 149"/>
            <p:cNvGrpSpPr/>
            <p:nvPr/>
          </p:nvGrpSpPr>
          <p:grpSpPr>
            <a:xfrm>
              <a:off x="10585573" y="2071671"/>
              <a:ext cx="504056" cy="1037024"/>
              <a:chOff x="10801597" y="4220875"/>
              <a:chExt cx="504056" cy="1037024"/>
            </a:xfrm>
          </p:grpSpPr>
          <p:sp>
            <p:nvSpPr>
              <p:cNvPr id="151" name="罐形 150"/>
              <p:cNvSpPr/>
              <p:nvPr/>
            </p:nvSpPr>
            <p:spPr>
              <a:xfrm>
                <a:off x="10801597" y="4220875"/>
                <a:ext cx="504056" cy="504056"/>
              </a:xfrm>
              <a:prstGeom prst="can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1428" dirty="0" err="1"/>
                  <a:t>git</a:t>
                </a:r>
                <a:endParaRPr kumimoji="1" lang="zh-CN" altLang="en-US" sz="1428" dirty="0"/>
              </a:p>
            </p:txBody>
          </p:sp>
          <p:sp>
            <p:nvSpPr>
              <p:cNvPr id="155" name="罐形 154"/>
              <p:cNvSpPr/>
              <p:nvPr/>
            </p:nvSpPr>
            <p:spPr>
              <a:xfrm>
                <a:off x="10801597" y="4753843"/>
                <a:ext cx="504056" cy="504056"/>
              </a:xfrm>
              <a:prstGeom prst="can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1428"/>
                  <a:t>svn</a:t>
                </a:r>
                <a:endParaRPr kumimoji="1" lang="zh-CN" altLang="en-US" sz="1428" dirty="0"/>
              </a:p>
            </p:txBody>
          </p:sp>
        </p:grpSp>
      </p:grpSp>
      <p:grpSp>
        <p:nvGrpSpPr>
          <p:cNvPr id="165" name="组 164"/>
          <p:cNvGrpSpPr/>
          <p:nvPr/>
        </p:nvGrpSpPr>
        <p:grpSpPr>
          <a:xfrm>
            <a:off x="848356" y="4685442"/>
            <a:ext cx="8054881" cy="342761"/>
            <a:chOff x="864493" y="5673897"/>
            <a:chExt cx="10153128" cy="432048"/>
          </a:xfrm>
        </p:grpSpPr>
        <p:sp>
          <p:nvSpPr>
            <p:cNvPr id="166" name="矩形 165"/>
            <p:cNvSpPr/>
            <p:nvPr/>
          </p:nvSpPr>
          <p:spPr>
            <a:xfrm>
              <a:off x="864493" y="5764427"/>
              <a:ext cx="10153128" cy="28556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28" dirty="0"/>
            </a:p>
          </p:txBody>
        </p:sp>
        <p:sp>
          <p:nvSpPr>
            <p:cNvPr id="167" name="矩形 166"/>
            <p:cNvSpPr/>
            <p:nvPr/>
          </p:nvSpPr>
          <p:spPr>
            <a:xfrm>
              <a:off x="8144022" y="5673897"/>
              <a:ext cx="1440160" cy="4320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28" dirty="0" err="1"/>
                <a:t>RabbitMQ</a:t>
              </a:r>
              <a:endParaRPr kumimoji="1" lang="zh-CN" altLang="en-US" sz="1428" dirty="0"/>
            </a:p>
          </p:txBody>
        </p:sp>
      </p:grpSp>
      <p:grpSp>
        <p:nvGrpSpPr>
          <p:cNvPr id="168" name="组 167"/>
          <p:cNvGrpSpPr/>
          <p:nvPr/>
        </p:nvGrpSpPr>
        <p:grpSpPr>
          <a:xfrm>
            <a:off x="3444103" y="244824"/>
            <a:ext cx="1359580" cy="930508"/>
            <a:chOff x="7639966" y="1069328"/>
            <a:chExt cx="1713742" cy="1080120"/>
          </a:xfrm>
        </p:grpSpPr>
        <p:sp>
          <p:nvSpPr>
            <p:cNvPr id="169" name="矩形 168"/>
            <p:cNvSpPr/>
            <p:nvPr/>
          </p:nvSpPr>
          <p:spPr>
            <a:xfrm>
              <a:off x="7639966" y="1069328"/>
              <a:ext cx="1713742" cy="1080120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kumimoji="1" lang="en-US" altLang="zh-CN" sz="873" dirty="0"/>
                <a:t>Turbine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Server</a:t>
              </a:r>
            </a:p>
            <a:p>
              <a:pPr algn="ctr"/>
              <a:r>
                <a:rPr kumimoji="1" lang="en-US" altLang="zh-CN" sz="873" dirty="0"/>
                <a:t>(</a:t>
              </a:r>
              <a:r>
                <a:rPr kumimoji="1" lang="zh-CN" altLang="en-US" sz="873" dirty="0"/>
                <a:t>配置监视的集群</a:t>
              </a:r>
              <a:r>
                <a:rPr kumimoji="1" lang="en-US" altLang="zh-CN" sz="873" dirty="0"/>
                <a:t>)</a:t>
              </a:r>
            </a:p>
          </p:txBody>
        </p:sp>
        <p:sp>
          <p:nvSpPr>
            <p:cNvPr id="170" name="矩形 169"/>
            <p:cNvSpPr/>
            <p:nvPr/>
          </p:nvSpPr>
          <p:spPr>
            <a:xfrm>
              <a:off x="7755896" y="1528075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/>
                <a:t>N1</a:t>
              </a:r>
              <a:endParaRPr kumimoji="1" lang="en-US" altLang="zh-CN" sz="873" dirty="0"/>
            </a:p>
          </p:txBody>
        </p:sp>
        <p:sp>
          <p:nvSpPr>
            <p:cNvPr id="171" name="矩形 170"/>
            <p:cNvSpPr/>
            <p:nvPr/>
          </p:nvSpPr>
          <p:spPr>
            <a:xfrm>
              <a:off x="8270344" y="1528075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N2</a:t>
              </a:r>
            </a:p>
          </p:txBody>
        </p:sp>
        <p:sp>
          <p:nvSpPr>
            <p:cNvPr id="172" name="矩形 171"/>
            <p:cNvSpPr/>
            <p:nvPr/>
          </p:nvSpPr>
          <p:spPr>
            <a:xfrm>
              <a:off x="8774400" y="1528075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N..</a:t>
              </a:r>
            </a:p>
          </p:txBody>
        </p:sp>
      </p:grpSp>
      <p:grpSp>
        <p:nvGrpSpPr>
          <p:cNvPr id="173" name="组 172"/>
          <p:cNvGrpSpPr/>
          <p:nvPr/>
        </p:nvGrpSpPr>
        <p:grpSpPr>
          <a:xfrm>
            <a:off x="4980572" y="244824"/>
            <a:ext cx="1359580" cy="941243"/>
            <a:chOff x="7639966" y="2202489"/>
            <a:chExt cx="1713742" cy="1153365"/>
          </a:xfrm>
        </p:grpSpPr>
        <p:sp>
          <p:nvSpPr>
            <p:cNvPr id="174" name="矩形 173"/>
            <p:cNvSpPr/>
            <p:nvPr/>
          </p:nvSpPr>
          <p:spPr>
            <a:xfrm>
              <a:off x="7639966" y="2202489"/>
              <a:ext cx="1713742" cy="1153365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kumimoji="1" lang="en-US" altLang="zh-CN" sz="873" dirty="0"/>
                <a:t>Spring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cloud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Sleuth</a:t>
              </a:r>
            </a:p>
            <a:p>
              <a:pPr algn="ctr"/>
              <a:r>
                <a:rPr kumimoji="1" lang="en-US" altLang="zh-CN" sz="873" dirty="0"/>
                <a:t>(</a:t>
              </a:r>
              <a:r>
                <a:rPr kumimoji="1" lang="en-US" altLang="zh-CN" sz="873" dirty="0" err="1"/>
                <a:t>Zipkin</a:t>
              </a:r>
              <a:r>
                <a:rPr kumimoji="1" lang="zh-CN" altLang="en-US" sz="873" dirty="0"/>
                <a:t> </a:t>
              </a:r>
              <a:r>
                <a:rPr kumimoji="1" lang="en-US" altLang="zh-CN" sz="873" dirty="0"/>
                <a:t>Server)</a:t>
              </a:r>
            </a:p>
          </p:txBody>
        </p:sp>
        <p:sp>
          <p:nvSpPr>
            <p:cNvPr id="175" name="矩形 174"/>
            <p:cNvSpPr/>
            <p:nvPr/>
          </p:nvSpPr>
          <p:spPr>
            <a:xfrm>
              <a:off x="7755896" y="2737619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/>
                <a:t>N1</a:t>
              </a:r>
              <a:endParaRPr kumimoji="1" lang="en-US" altLang="zh-CN" sz="873" dirty="0"/>
            </a:p>
          </p:txBody>
        </p:sp>
        <p:sp>
          <p:nvSpPr>
            <p:cNvPr id="176" name="矩形 175"/>
            <p:cNvSpPr/>
            <p:nvPr/>
          </p:nvSpPr>
          <p:spPr>
            <a:xfrm>
              <a:off x="8270344" y="2737619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N2</a:t>
              </a:r>
            </a:p>
          </p:txBody>
        </p:sp>
        <p:sp>
          <p:nvSpPr>
            <p:cNvPr id="177" name="矩形 176"/>
            <p:cNvSpPr/>
            <p:nvPr/>
          </p:nvSpPr>
          <p:spPr>
            <a:xfrm>
              <a:off x="8774400" y="2737619"/>
              <a:ext cx="421656" cy="57606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73" dirty="0"/>
                <a:t>N..</a:t>
              </a:r>
            </a:p>
          </p:txBody>
        </p:sp>
      </p:grpSp>
      <p:cxnSp>
        <p:nvCxnSpPr>
          <p:cNvPr id="178" name="直线箭头连接符 177"/>
          <p:cNvCxnSpPr>
            <a:stCxn id="138" idx="3"/>
          </p:cNvCxnSpPr>
          <p:nvPr/>
        </p:nvCxnSpPr>
        <p:spPr>
          <a:xfrm>
            <a:off x="2619288" y="2221406"/>
            <a:ext cx="761956" cy="1543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直线箭头连接符 178"/>
          <p:cNvCxnSpPr>
            <a:stCxn id="162" idx="2"/>
          </p:cNvCxnSpPr>
          <p:nvPr/>
        </p:nvCxnSpPr>
        <p:spPr>
          <a:xfrm>
            <a:off x="4123893" y="1175333"/>
            <a:ext cx="0" cy="60471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直线箭头连接符 179"/>
          <p:cNvCxnSpPr/>
          <p:nvPr/>
        </p:nvCxnSpPr>
        <p:spPr>
          <a:xfrm>
            <a:off x="5480676" y="1223473"/>
            <a:ext cx="1" cy="5261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直线箭头连接符 180"/>
          <p:cNvCxnSpPr>
            <a:stCxn id="164" idx="1"/>
          </p:cNvCxnSpPr>
          <p:nvPr/>
        </p:nvCxnSpPr>
        <p:spPr>
          <a:xfrm flipH="1">
            <a:off x="5609190" y="2214279"/>
            <a:ext cx="1163081" cy="2256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直线箭头连接符 181"/>
          <p:cNvCxnSpPr/>
          <p:nvPr/>
        </p:nvCxnSpPr>
        <p:spPr>
          <a:xfrm flipV="1">
            <a:off x="4495217" y="2727878"/>
            <a:ext cx="1" cy="28662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3" name="组 182"/>
          <p:cNvGrpSpPr/>
          <p:nvPr/>
        </p:nvGrpSpPr>
        <p:grpSpPr>
          <a:xfrm>
            <a:off x="3040078" y="3053738"/>
            <a:ext cx="3409359" cy="1415930"/>
            <a:chOff x="4059194" y="3617144"/>
            <a:chExt cx="4297476" cy="1784771"/>
          </a:xfrm>
        </p:grpSpPr>
        <p:grpSp>
          <p:nvGrpSpPr>
            <p:cNvPr id="184" name="组 183"/>
            <p:cNvGrpSpPr/>
            <p:nvPr/>
          </p:nvGrpSpPr>
          <p:grpSpPr>
            <a:xfrm>
              <a:off x="4059194" y="3617144"/>
              <a:ext cx="4297476" cy="1784771"/>
              <a:chOff x="344349" y="3819823"/>
              <a:chExt cx="4297476" cy="1784771"/>
            </a:xfrm>
          </p:grpSpPr>
          <p:grpSp>
            <p:nvGrpSpPr>
              <p:cNvPr id="186" name="组 185"/>
              <p:cNvGrpSpPr/>
              <p:nvPr/>
            </p:nvGrpSpPr>
            <p:grpSpPr>
              <a:xfrm>
                <a:off x="344349" y="3819823"/>
                <a:ext cx="4297476" cy="1784771"/>
                <a:chOff x="1531512" y="3901155"/>
                <a:chExt cx="4297476" cy="1784771"/>
              </a:xfrm>
            </p:grpSpPr>
            <p:sp>
              <p:nvSpPr>
                <p:cNvPr id="188" name="矩形 187"/>
                <p:cNvSpPr/>
                <p:nvPr/>
              </p:nvSpPr>
              <p:spPr>
                <a:xfrm>
                  <a:off x="1531512" y="3901155"/>
                  <a:ext cx="4297476" cy="1784771"/>
                </a:xfrm>
                <a:prstGeom prst="rect">
                  <a:avLst/>
                </a:prstGeom>
                <a:ln/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 sz="1428" dirty="0"/>
                </a:p>
              </p:txBody>
            </p:sp>
            <p:grpSp>
              <p:nvGrpSpPr>
                <p:cNvPr id="189" name="组 188"/>
                <p:cNvGrpSpPr/>
                <p:nvPr/>
              </p:nvGrpSpPr>
              <p:grpSpPr>
                <a:xfrm>
                  <a:off x="1687389" y="4105771"/>
                  <a:ext cx="4025706" cy="1440160"/>
                  <a:chOff x="1687389" y="4105771"/>
                  <a:chExt cx="4025706" cy="1440160"/>
                </a:xfrm>
              </p:grpSpPr>
              <p:sp>
                <p:nvSpPr>
                  <p:cNvPr id="190" name="折角形 189"/>
                  <p:cNvSpPr/>
                  <p:nvPr/>
                </p:nvSpPr>
                <p:spPr>
                  <a:xfrm>
                    <a:off x="2880717" y="4465811"/>
                    <a:ext cx="1152128" cy="360040"/>
                  </a:xfrm>
                  <a:prstGeom prst="foldedCorner">
                    <a:avLst/>
                  </a:prstGeom>
                  <a:solidFill>
                    <a:schemeClr val="accent1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zh-CN" altLang="en-US" sz="833" dirty="0"/>
                      <a:t>客户端负载均衡（</a:t>
                    </a:r>
                    <a:r>
                      <a:rPr kumimoji="1" lang="en-US" altLang="zh-CN" sz="833" dirty="0"/>
                      <a:t>Ribbon</a:t>
                    </a:r>
                    <a:r>
                      <a:rPr kumimoji="1" lang="zh-CN" altLang="en-US" sz="833" dirty="0"/>
                      <a:t>）</a:t>
                    </a:r>
                  </a:p>
                </p:txBody>
              </p:sp>
              <p:sp>
                <p:nvSpPr>
                  <p:cNvPr id="191" name="折角形 190"/>
                  <p:cNvSpPr/>
                  <p:nvPr/>
                </p:nvSpPr>
                <p:spPr>
                  <a:xfrm>
                    <a:off x="2880717" y="4825851"/>
                    <a:ext cx="1152128" cy="360040"/>
                  </a:xfrm>
                  <a:prstGeom prst="foldedCorner">
                    <a:avLst/>
                  </a:prstGeom>
                  <a:solidFill>
                    <a:srgbClr val="C00000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zh-CN" altLang="en-US" sz="833" dirty="0"/>
                      <a:t>断路器</a:t>
                    </a:r>
                    <a:r>
                      <a:rPr kumimoji="1" lang="en-US" altLang="zh-CN" sz="833" dirty="0"/>
                      <a:t>(</a:t>
                    </a:r>
                    <a:r>
                      <a:rPr kumimoji="1" lang="en-US" altLang="zh-CN" sz="833" dirty="0" err="1"/>
                      <a:t>Hystrix</a:t>
                    </a:r>
                    <a:r>
                      <a:rPr kumimoji="1" lang="en-US" altLang="zh-CN" sz="833" dirty="0"/>
                      <a:t>)</a:t>
                    </a:r>
                    <a:endParaRPr kumimoji="1" lang="zh-CN" altLang="en-US" sz="833" dirty="0"/>
                  </a:p>
                </p:txBody>
              </p:sp>
              <p:sp>
                <p:nvSpPr>
                  <p:cNvPr id="192" name="折角形 191"/>
                  <p:cNvSpPr/>
                  <p:nvPr/>
                </p:nvSpPr>
                <p:spPr>
                  <a:xfrm>
                    <a:off x="2880717" y="4105771"/>
                    <a:ext cx="1152128" cy="360040"/>
                  </a:xfrm>
                  <a:prstGeom prst="foldedCorner">
                    <a:avLst/>
                  </a:prstGeom>
                  <a:solidFill>
                    <a:srgbClr val="92D050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zh-CN" altLang="en-US" sz="833" dirty="0"/>
                      <a:t>服务注册（</a:t>
                    </a:r>
                    <a:r>
                      <a:rPr kumimoji="1" lang="en-US" altLang="zh-CN" sz="833" dirty="0"/>
                      <a:t>Eureka</a:t>
                    </a:r>
                    <a:r>
                      <a:rPr kumimoji="1" lang="zh-CN" altLang="en-US" sz="833" dirty="0"/>
                      <a:t> </a:t>
                    </a:r>
                    <a:r>
                      <a:rPr kumimoji="1" lang="en-US" altLang="zh-CN" sz="833" dirty="0"/>
                      <a:t>Client</a:t>
                    </a:r>
                    <a:r>
                      <a:rPr kumimoji="1" lang="zh-CN" altLang="en-US" sz="833" dirty="0"/>
                      <a:t>）</a:t>
                    </a:r>
                  </a:p>
                </p:txBody>
              </p:sp>
              <p:grpSp>
                <p:nvGrpSpPr>
                  <p:cNvPr id="193" name="组 192"/>
                  <p:cNvGrpSpPr/>
                  <p:nvPr/>
                </p:nvGrpSpPr>
                <p:grpSpPr>
                  <a:xfrm>
                    <a:off x="4115246" y="4105771"/>
                    <a:ext cx="1597849" cy="1368152"/>
                    <a:chOff x="4115246" y="4105771"/>
                    <a:chExt cx="1597849" cy="1368152"/>
                  </a:xfrm>
                </p:grpSpPr>
                <p:sp>
                  <p:nvSpPr>
                    <p:cNvPr id="196" name="矩形 195"/>
                    <p:cNvSpPr/>
                    <p:nvPr/>
                  </p:nvSpPr>
                  <p:spPr>
                    <a:xfrm>
                      <a:off x="4115246" y="4105771"/>
                      <a:ext cx="1597849" cy="1368152"/>
                    </a:xfrm>
                    <a:prstGeom prst="rect">
                      <a:avLst/>
                    </a:prstGeom>
                    <a:ln/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t"/>
                    <a:lstStyle/>
                    <a:p>
                      <a:pPr algn="ctr"/>
                      <a:r>
                        <a:rPr kumimoji="1" lang="en-US" altLang="zh-CN" sz="873" dirty="0"/>
                        <a:t>MicroService1</a:t>
                      </a:r>
                    </a:p>
                    <a:p>
                      <a:pPr algn="ctr"/>
                      <a:r>
                        <a:rPr kumimoji="1" lang="en-US" altLang="zh-CN" sz="873" dirty="0"/>
                        <a:t>cluster</a:t>
                      </a:r>
                      <a:endParaRPr kumimoji="1" lang="zh-CN" altLang="en-US" sz="873" dirty="0"/>
                    </a:p>
                  </p:txBody>
                </p:sp>
                <p:sp>
                  <p:nvSpPr>
                    <p:cNvPr id="197" name="矩形 196"/>
                    <p:cNvSpPr/>
                    <p:nvPr/>
                  </p:nvSpPr>
                  <p:spPr>
                    <a:xfrm>
                      <a:off x="4176861" y="4753843"/>
                      <a:ext cx="421656" cy="576064"/>
                    </a:xfrm>
                    <a:prstGeom prst="rect">
                      <a:avLst/>
                    </a:prstGeom>
                    <a:ln/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kumimoji="1" lang="en-US" altLang="zh-CN" sz="873"/>
                        <a:t>N1</a:t>
                      </a:r>
                      <a:endParaRPr kumimoji="1" lang="en-US" altLang="zh-CN" sz="873" dirty="0"/>
                    </a:p>
                  </p:txBody>
                </p:sp>
                <p:sp>
                  <p:nvSpPr>
                    <p:cNvPr id="198" name="矩形 197"/>
                    <p:cNvSpPr/>
                    <p:nvPr/>
                  </p:nvSpPr>
                  <p:spPr>
                    <a:xfrm>
                      <a:off x="4691309" y="4753843"/>
                      <a:ext cx="421656" cy="576064"/>
                    </a:xfrm>
                    <a:prstGeom prst="rect">
                      <a:avLst/>
                    </a:prstGeom>
                    <a:ln/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kumimoji="1" lang="en-US" altLang="zh-CN" sz="873" dirty="0"/>
                        <a:t>N2</a:t>
                      </a:r>
                    </a:p>
                  </p:txBody>
                </p:sp>
                <p:sp>
                  <p:nvSpPr>
                    <p:cNvPr id="199" name="矩形 198"/>
                    <p:cNvSpPr/>
                    <p:nvPr/>
                  </p:nvSpPr>
                  <p:spPr>
                    <a:xfrm>
                      <a:off x="5195365" y="4753843"/>
                      <a:ext cx="421656" cy="576064"/>
                    </a:xfrm>
                    <a:prstGeom prst="rect">
                      <a:avLst/>
                    </a:prstGeom>
                    <a:ln/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kumimoji="1" lang="en-US" altLang="zh-CN" sz="873" dirty="0"/>
                        <a:t>N..</a:t>
                      </a:r>
                    </a:p>
                  </p:txBody>
                </p:sp>
              </p:grpSp>
              <p:sp>
                <p:nvSpPr>
                  <p:cNvPr id="194" name="折角形 193"/>
                  <p:cNvSpPr/>
                  <p:nvPr/>
                </p:nvSpPr>
                <p:spPr>
                  <a:xfrm>
                    <a:off x="1687389" y="4105771"/>
                    <a:ext cx="1152128" cy="360040"/>
                  </a:xfrm>
                  <a:prstGeom prst="foldedCorner">
                    <a:avLst/>
                  </a:prstGeom>
                  <a:solidFill>
                    <a:schemeClr val="accent3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833" dirty="0"/>
                      <a:t>Spring</a:t>
                    </a:r>
                    <a:r>
                      <a:rPr kumimoji="1" lang="zh-CN" altLang="en-US" sz="833" dirty="0"/>
                      <a:t> </a:t>
                    </a:r>
                    <a:r>
                      <a:rPr kumimoji="1" lang="en-US" altLang="zh-CN" sz="833" dirty="0" err="1"/>
                      <a:t>Config</a:t>
                    </a:r>
                    <a:r>
                      <a:rPr kumimoji="1" lang="zh-CN" altLang="en-US" sz="833" dirty="0"/>
                      <a:t> </a:t>
                    </a:r>
                    <a:r>
                      <a:rPr kumimoji="1" lang="en-US" altLang="zh-CN" sz="833" dirty="0"/>
                      <a:t>Client</a:t>
                    </a:r>
                    <a:endParaRPr kumimoji="1" lang="zh-CN" altLang="en-US" sz="833" dirty="0"/>
                  </a:p>
                </p:txBody>
              </p:sp>
              <p:sp>
                <p:nvSpPr>
                  <p:cNvPr id="195" name="折角形 194"/>
                  <p:cNvSpPr/>
                  <p:nvPr/>
                </p:nvSpPr>
                <p:spPr>
                  <a:xfrm>
                    <a:off x="2880717" y="5185891"/>
                    <a:ext cx="1152128" cy="360040"/>
                  </a:xfrm>
                  <a:prstGeom prst="foldedCorner">
                    <a:avLst/>
                  </a:prstGeom>
                  <a:solidFill>
                    <a:srgbClr val="C00000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833" dirty="0"/>
                      <a:t>Sleuth</a:t>
                    </a:r>
                    <a:r>
                      <a:rPr kumimoji="1" lang="zh-CN" altLang="en-US" sz="833" dirty="0"/>
                      <a:t> </a:t>
                    </a:r>
                    <a:r>
                      <a:rPr kumimoji="1" lang="en-US" altLang="zh-CN" sz="833" dirty="0"/>
                      <a:t>client</a:t>
                    </a:r>
                    <a:endParaRPr kumimoji="1" lang="zh-CN" altLang="en-US" sz="833" dirty="0"/>
                  </a:p>
                </p:txBody>
              </p:sp>
            </p:grpSp>
          </p:grpSp>
          <p:sp>
            <p:nvSpPr>
              <p:cNvPr id="187" name="折角形 186"/>
              <p:cNvSpPr/>
              <p:nvPr/>
            </p:nvSpPr>
            <p:spPr>
              <a:xfrm>
                <a:off x="500226" y="4740498"/>
                <a:ext cx="1152128" cy="360040"/>
              </a:xfrm>
              <a:prstGeom prst="foldedCorner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zh-CN" altLang="en-US" sz="833" dirty="0"/>
                  <a:t>。。。</a:t>
                </a:r>
              </a:p>
            </p:txBody>
          </p:sp>
        </p:grpSp>
        <p:sp>
          <p:nvSpPr>
            <p:cNvPr id="185" name="折角形 184"/>
            <p:cNvSpPr/>
            <p:nvPr/>
          </p:nvSpPr>
          <p:spPr>
            <a:xfrm>
              <a:off x="4215071" y="4177779"/>
              <a:ext cx="1152128" cy="356019"/>
            </a:xfrm>
            <a:prstGeom prst="foldedCorner">
              <a:avLst/>
            </a:prstGeom>
            <a:solidFill>
              <a:srgbClr val="FFC000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833" dirty="0"/>
                <a:t>Spring</a:t>
              </a:r>
              <a:r>
                <a:rPr kumimoji="1" lang="zh-CN" altLang="en-US" sz="833" dirty="0"/>
                <a:t> </a:t>
              </a:r>
              <a:r>
                <a:rPr kumimoji="1" lang="en-US" altLang="zh-CN" sz="833" dirty="0"/>
                <a:t>bus</a:t>
              </a:r>
              <a:endParaRPr kumimoji="1" lang="zh-CN" altLang="en-US" sz="833" dirty="0"/>
            </a:p>
          </p:txBody>
        </p:sp>
      </p:grpSp>
      <p:cxnSp>
        <p:nvCxnSpPr>
          <p:cNvPr id="200" name="直线箭头连接符 199"/>
          <p:cNvCxnSpPr>
            <a:endCxn id="164" idx="3"/>
          </p:cNvCxnSpPr>
          <p:nvPr/>
        </p:nvCxnSpPr>
        <p:spPr>
          <a:xfrm flipH="1" flipV="1">
            <a:off x="8086188" y="2214279"/>
            <a:ext cx="371324" cy="651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直线箭头连接符 200"/>
          <p:cNvCxnSpPr>
            <a:stCxn id="164" idx="2"/>
          </p:cNvCxnSpPr>
          <p:nvPr/>
        </p:nvCxnSpPr>
        <p:spPr>
          <a:xfrm flipH="1">
            <a:off x="7396744" y="2684484"/>
            <a:ext cx="32486" cy="197127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直线箭头连接符 201"/>
          <p:cNvCxnSpPr/>
          <p:nvPr/>
        </p:nvCxnSpPr>
        <p:spPr>
          <a:xfrm flipV="1">
            <a:off x="4744758" y="4469668"/>
            <a:ext cx="0" cy="28563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直线箭头连接符 202"/>
          <p:cNvCxnSpPr/>
          <p:nvPr/>
        </p:nvCxnSpPr>
        <p:spPr>
          <a:xfrm flipV="1">
            <a:off x="6047822" y="1223473"/>
            <a:ext cx="0" cy="181064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肘形连接符 203"/>
          <p:cNvCxnSpPr/>
          <p:nvPr/>
        </p:nvCxnSpPr>
        <p:spPr>
          <a:xfrm rot="10800000" flipH="1">
            <a:off x="3040078" y="1186067"/>
            <a:ext cx="495997" cy="2575637"/>
          </a:xfrm>
          <a:prstGeom prst="bentConnector4">
            <a:avLst>
              <a:gd name="adj1" fmla="val -36564"/>
              <a:gd name="adj2" fmla="val 86433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肘形连接符 204"/>
          <p:cNvCxnSpPr/>
          <p:nvPr/>
        </p:nvCxnSpPr>
        <p:spPr>
          <a:xfrm flipV="1">
            <a:off x="6449437" y="2714165"/>
            <a:ext cx="567604" cy="1047539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肘形连接符 205"/>
          <p:cNvCxnSpPr/>
          <p:nvPr/>
        </p:nvCxnSpPr>
        <p:spPr>
          <a:xfrm rot="16200000" flipH="1">
            <a:off x="1900148" y="2777930"/>
            <a:ext cx="1228146" cy="1106312"/>
          </a:xfrm>
          <a:prstGeom prst="bentConnector3">
            <a:avLst>
              <a:gd name="adj1" fmla="val 100863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2056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>
            <p:ph type="ctrTitle"/>
          </p:nvPr>
        </p:nvSpPr>
        <p:spPr>
          <a:xfrm>
            <a:off x="533561" y="111835"/>
            <a:ext cx="8191500" cy="396875"/>
          </a:xfrm>
        </p:spPr>
        <p:txBody>
          <a:bodyPr/>
          <a:lstStyle/>
          <a:p>
            <a:r>
              <a:rPr lang="en-US" altLang="zh-CN" dirty="0" smtClean="0">
                <a:latin typeface="+mj-ea"/>
                <a:ea typeface="+mj-ea"/>
              </a:rPr>
              <a:t>3.9 APP</a:t>
            </a:r>
            <a:r>
              <a:rPr lang="zh-CN" altLang="en-US" dirty="0" smtClean="0">
                <a:latin typeface="+mj-ea"/>
                <a:ea typeface="+mj-ea"/>
              </a:rPr>
              <a:t>技术体系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315210" y="368558"/>
            <a:ext cx="5118465" cy="4774942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grpSp>
        <p:nvGrpSpPr>
          <p:cNvPr id="69" name="组 68"/>
          <p:cNvGrpSpPr/>
          <p:nvPr/>
        </p:nvGrpSpPr>
        <p:grpSpPr>
          <a:xfrm>
            <a:off x="4007165" y="1664047"/>
            <a:ext cx="4346726" cy="3255974"/>
            <a:chOff x="5677510" y="1712643"/>
            <a:chExt cx="5342105" cy="4121320"/>
          </a:xfrm>
        </p:grpSpPr>
        <p:grpSp>
          <p:nvGrpSpPr>
            <p:cNvPr id="30" name="组 29"/>
            <p:cNvGrpSpPr/>
            <p:nvPr/>
          </p:nvGrpSpPr>
          <p:grpSpPr>
            <a:xfrm>
              <a:off x="5677510" y="1712643"/>
              <a:ext cx="5342105" cy="4121320"/>
              <a:chOff x="3816821" y="1153443"/>
              <a:chExt cx="6514762" cy="4986094"/>
            </a:xfrm>
          </p:grpSpPr>
          <p:sp>
            <p:nvSpPr>
              <p:cNvPr id="51" name="右箭头 50"/>
              <p:cNvSpPr/>
              <p:nvPr/>
            </p:nvSpPr>
            <p:spPr>
              <a:xfrm rot="5400000">
                <a:off x="5808592" y="4697951"/>
                <a:ext cx="393939" cy="345033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1428"/>
              </a:p>
            </p:txBody>
          </p:sp>
          <p:sp>
            <p:nvSpPr>
              <p:cNvPr id="52" name="右箭头 51"/>
              <p:cNvSpPr/>
              <p:nvPr/>
            </p:nvSpPr>
            <p:spPr>
              <a:xfrm rot="16200000">
                <a:off x="7704090" y="4701801"/>
                <a:ext cx="393939" cy="345033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accent6">
                      <a:lumMod val="67000"/>
                    </a:schemeClr>
                  </a:gs>
                  <a:gs pos="48000">
                    <a:schemeClr val="accent6">
                      <a:lumMod val="97000"/>
                      <a:lumOff val="3000"/>
                    </a:schemeClr>
                  </a:gs>
                  <a:gs pos="100000">
                    <a:schemeClr val="accent6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1428"/>
              </a:p>
            </p:txBody>
          </p:sp>
          <p:grpSp>
            <p:nvGrpSpPr>
              <p:cNvPr id="12" name="组 11"/>
              <p:cNvGrpSpPr/>
              <p:nvPr/>
            </p:nvGrpSpPr>
            <p:grpSpPr>
              <a:xfrm>
                <a:off x="3816821" y="1153443"/>
                <a:ext cx="6514762" cy="4986094"/>
                <a:chOff x="3820468" y="1153443"/>
                <a:chExt cx="6514762" cy="4986094"/>
              </a:xfrm>
            </p:grpSpPr>
            <p:sp>
              <p:nvSpPr>
                <p:cNvPr id="22" name="圆角矩形 21"/>
                <p:cNvSpPr/>
                <p:nvPr/>
              </p:nvSpPr>
              <p:spPr>
                <a:xfrm>
                  <a:off x="3820468" y="1585491"/>
                  <a:ext cx="6514761" cy="756084"/>
                </a:xfrm>
                <a:prstGeom prst="roundRect">
                  <a:avLst/>
                </a:prstGeom>
                <a:solidFill>
                  <a:schemeClr val="tx2">
                    <a:lumMod val="40000"/>
                    <a:lumOff val="60000"/>
                  </a:schemeClr>
                </a:solidFill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algn="ctr"/>
                  <a:r>
                    <a:rPr kumimoji="1" lang="en-US" altLang="zh-CN" sz="1269" dirty="0"/>
                    <a:t>Rendering</a:t>
                  </a:r>
                  <a:r>
                    <a:rPr kumimoji="1" lang="zh-CN" altLang="en-US" sz="1269" dirty="0"/>
                    <a:t> </a:t>
                  </a:r>
                  <a:endParaRPr kumimoji="1" lang="en-US" altLang="zh-CN" sz="1269" dirty="0"/>
                </a:p>
                <a:p>
                  <a:pPr algn="ctr"/>
                  <a:r>
                    <a:rPr kumimoji="1" lang="en-US" altLang="zh-CN" sz="1269" dirty="0"/>
                    <a:t>Engine</a:t>
                  </a:r>
                  <a:endParaRPr kumimoji="1" lang="zh-CN" altLang="en-US" sz="1269" dirty="0"/>
                </a:p>
              </p:txBody>
            </p:sp>
            <p:grpSp>
              <p:nvGrpSpPr>
                <p:cNvPr id="11" name="组 10"/>
                <p:cNvGrpSpPr/>
                <p:nvPr/>
              </p:nvGrpSpPr>
              <p:grpSpPr>
                <a:xfrm>
                  <a:off x="3820469" y="5234003"/>
                  <a:ext cx="6514761" cy="905534"/>
                  <a:chOff x="3820469" y="5234003"/>
                  <a:chExt cx="6514761" cy="905534"/>
                </a:xfrm>
              </p:grpSpPr>
              <p:sp>
                <p:nvSpPr>
                  <p:cNvPr id="24" name="圆角矩形 23"/>
                  <p:cNvSpPr/>
                  <p:nvPr/>
                </p:nvSpPr>
                <p:spPr>
                  <a:xfrm>
                    <a:off x="3820469" y="5234003"/>
                    <a:ext cx="6514761" cy="905534"/>
                  </a:xfrm>
                  <a:prstGeom prst="roundRect">
                    <a:avLst/>
                  </a:prstGeom>
                  <a:solidFill>
                    <a:schemeClr val="tx2">
                      <a:lumMod val="40000"/>
                      <a:lumOff val="60000"/>
                    </a:schemeClr>
                  </a:solidFill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r>
                      <a:rPr kumimoji="1" lang="en-US" altLang="zh-CN" sz="1269" dirty="0"/>
                      <a:t>Mobile</a:t>
                    </a:r>
                    <a:r>
                      <a:rPr kumimoji="1" lang="zh-CN" altLang="en-US" sz="1269" dirty="0"/>
                      <a:t> </a:t>
                    </a:r>
                    <a:r>
                      <a:rPr kumimoji="1" lang="en-US" altLang="zh-CN" sz="1269" dirty="0"/>
                      <a:t>OS</a:t>
                    </a:r>
                    <a:endParaRPr kumimoji="1" lang="zh-CN" altLang="en-US" sz="1269" dirty="0"/>
                  </a:p>
                </p:txBody>
              </p:sp>
              <p:sp>
                <p:nvSpPr>
                  <p:cNvPr id="26" name="矩形 25"/>
                  <p:cNvSpPr/>
                  <p:nvPr/>
                </p:nvSpPr>
                <p:spPr>
                  <a:xfrm>
                    <a:off x="5086183" y="5490202"/>
                    <a:ext cx="1276053" cy="393135"/>
                  </a:xfrm>
                  <a:prstGeom prst="rect">
                    <a:avLst/>
                  </a:prstGeom>
                  <a:solidFill>
                    <a:schemeClr val="accent2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/>
                      <a:t>Android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27" name="矩形 26"/>
                  <p:cNvSpPr/>
                  <p:nvPr/>
                </p:nvSpPr>
                <p:spPr>
                  <a:xfrm>
                    <a:off x="6625007" y="5490201"/>
                    <a:ext cx="1276053" cy="393135"/>
                  </a:xfrm>
                  <a:prstGeom prst="rect">
                    <a:avLst/>
                  </a:prstGeom>
                  <a:solidFill>
                    <a:schemeClr val="accent2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/>
                      <a:t>IOS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28" name="矩形 27"/>
                  <p:cNvSpPr/>
                  <p:nvPr/>
                </p:nvSpPr>
                <p:spPr>
                  <a:xfrm>
                    <a:off x="8163831" y="5490201"/>
                    <a:ext cx="1276053" cy="393135"/>
                  </a:xfrm>
                  <a:prstGeom prst="rect">
                    <a:avLst/>
                  </a:prstGeom>
                  <a:solidFill>
                    <a:schemeClr val="accent2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 err="1"/>
                      <a:t>WinPhone</a:t>
                    </a:r>
                    <a:endParaRPr kumimoji="1" lang="zh-CN" altLang="en-US" sz="1111" dirty="0"/>
                  </a:p>
                </p:txBody>
              </p:sp>
            </p:grpSp>
            <p:grpSp>
              <p:nvGrpSpPr>
                <p:cNvPr id="9" name="组 8"/>
                <p:cNvGrpSpPr/>
                <p:nvPr/>
              </p:nvGrpSpPr>
              <p:grpSpPr>
                <a:xfrm>
                  <a:off x="4752925" y="2825670"/>
                  <a:ext cx="5582304" cy="1784157"/>
                  <a:chOff x="4752925" y="3062911"/>
                  <a:chExt cx="5582304" cy="1784157"/>
                </a:xfrm>
              </p:grpSpPr>
              <p:sp>
                <p:nvSpPr>
                  <p:cNvPr id="29" name="圆角矩形 28"/>
                  <p:cNvSpPr/>
                  <p:nvPr/>
                </p:nvSpPr>
                <p:spPr>
                  <a:xfrm>
                    <a:off x="4752925" y="3062911"/>
                    <a:ext cx="5582304" cy="1784157"/>
                  </a:xfrm>
                  <a:prstGeom prst="roundRect">
                    <a:avLst/>
                  </a:prstGeom>
                  <a:solidFill>
                    <a:srgbClr val="00B050"/>
                  </a:solidFill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rtlCol="0" anchor="t"/>
                  <a:lstStyle/>
                  <a:p>
                    <a:pPr algn="ctr"/>
                    <a:r>
                      <a:rPr kumimoji="1" lang="en-US" altLang="zh-CN" sz="1269" dirty="0"/>
                      <a:t>Native</a:t>
                    </a:r>
                    <a:r>
                      <a:rPr kumimoji="1" lang="zh-CN" altLang="en-US" sz="1269" dirty="0"/>
                      <a:t> </a:t>
                    </a:r>
                    <a:r>
                      <a:rPr kumimoji="1" lang="en-US" altLang="zh-CN" sz="1269" dirty="0"/>
                      <a:t>Plugins</a:t>
                    </a:r>
                    <a:endParaRPr kumimoji="1" lang="zh-CN" altLang="en-US" sz="1269" dirty="0"/>
                  </a:p>
                </p:txBody>
              </p:sp>
              <p:sp>
                <p:nvSpPr>
                  <p:cNvPr id="31" name="矩形 30"/>
                  <p:cNvSpPr/>
                  <p:nvPr/>
                </p:nvSpPr>
                <p:spPr>
                  <a:xfrm>
                    <a:off x="4824933" y="3483995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/>
                      <a:t>Battery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32" name="矩形 31"/>
                  <p:cNvSpPr/>
                  <p:nvPr/>
                </p:nvSpPr>
                <p:spPr>
                  <a:xfrm>
                    <a:off x="6254922" y="3483994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/>
                      <a:t>Camera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37" name="矩形 36"/>
                  <p:cNvSpPr/>
                  <p:nvPr/>
                </p:nvSpPr>
                <p:spPr>
                  <a:xfrm>
                    <a:off x="7636243" y="3483993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 err="1"/>
                      <a:t>Geoloaction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43" name="矩形 42"/>
                  <p:cNvSpPr/>
                  <p:nvPr/>
                </p:nvSpPr>
                <p:spPr>
                  <a:xfrm>
                    <a:off x="8984304" y="3478215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/>
                      <a:t>Contacts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44" name="矩形 43"/>
                  <p:cNvSpPr/>
                  <p:nvPr/>
                </p:nvSpPr>
                <p:spPr>
                  <a:xfrm>
                    <a:off x="4824933" y="3928660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/>
                      <a:t>Device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45" name="矩形 44"/>
                  <p:cNvSpPr/>
                  <p:nvPr/>
                </p:nvSpPr>
                <p:spPr>
                  <a:xfrm>
                    <a:off x="6254922" y="3928659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/>
                      <a:t>Network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46" name="矩形 45"/>
                  <p:cNvSpPr/>
                  <p:nvPr/>
                </p:nvSpPr>
                <p:spPr>
                  <a:xfrm>
                    <a:off x="7636243" y="3928658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 dirty="0"/>
                      <a:t>Storage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47" name="矩形 46"/>
                  <p:cNvSpPr/>
                  <p:nvPr/>
                </p:nvSpPr>
                <p:spPr>
                  <a:xfrm>
                    <a:off x="8984304" y="3922880"/>
                    <a:ext cx="1276053" cy="393135"/>
                  </a:xfrm>
                  <a:prstGeom prst="rect">
                    <a:avLst/>
                  </a:prstGeom>
                  <a:solidFill>
                    <a:schemeClr val="accent6"/>
                  </a:solidFill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mr-IN" altLang="zh-CN" sz="1111" dirty="0"/>
                      <a:t>…</a:t>
                    </a:r>
                    <a:endParaRPr kumimoji="1" lang="zh-CN" altLang="en-US" sz="1111" dirty="0"/>
                  </a:p>
                </p:txBody>
              </p:sp>
              <p:sp>
                <p:nvSpPr>
                  <p:cNvPr id="48" name="矩形 47"/>
                  <p:cNvSpPr/>
                  <p:nvPr/>
                </p:nvSpPr>
                <p:spPr>
                  <a:xfrm>
                    <a:off x="5086182" y="4385466"/>
                    <a:ext cx="4851319" cy="393135"/>
                  </a:xfrm>
                  <a:prstGeom prst="rect">
                    <a:avLst/>
                  </a:prstGeom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kumimoji="1" lang="en-US" altLang="zh-CN" sz="1111"/>
                      <a:t>Custom</a:t>
                    </a:r>
                    <a:r>
                      <a:rPr kumimoji="1" lang="zh-CN" altLang="en-US" sz="1111" dirty="0"/>
                      <a:t> </a:t>
                    </a:r>
                    <a:r>
                      <a:rPr kumimoji="1" lang="en-US" altLang="zh-CN" sz="1111" dirty="0"/>
                      <a:t>Plugins</a:t>
                    </a:r>
                    <a:endParaRPr kumimoji="1" lang="zh-CN" altLang="en-US" sz="1111" dirty="0"/>
                  </a:p>
                </p:txBody>
              </p:sp>
            </p:grpSp>
            <p:sp>
              <p:nvSpPr>
                <p:cNvPr id="10" name="右箭头 9"/>
                <p:cNvSpPr/>
                <p:nvPr/>
              </p:nvSpPr>
              <p:spPr>
                <a:xfrm rot="5400000">
                  <a:off x="5885436" y="1203892"/>
                  <a:ext cx="393939" cy="345033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6">
                        <a:lumMod val="67000"/>
                      </a:schemeClr>
                    </a:gs>
                    <a:gs pos="48000">
                      <a:schemeClr val="accent6">
                        <a:lumMod val="97000"/>
                        <a:lumOff val="3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 sz="1428"/>
                </a:p>
              </p:txBody>
            </p:sp>
            <p:sp>
              <p:nvSpPr>
                <p:cNvPr id="49" name="右箭头 48"/>
                <p:cNvSpPr/>
                <p:nvPr/>
              </p:nvSpPr>
              <p:spPr>
                <a:xfrm rot="5400000">
                  <a:off x="5885435" y="2421458"/>
                  <a:ext cx="393939" cy="345033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6">
                        <a:lumMod val="67000"/>
                      </a:schemeClr>
                    </a:gs>
                    <a:gs pos="48000">
                      <a:schemeClr val="accent6">
                        <a:lumMod val="97000"/>
                        <a:lumOff val="3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 sz="1428"/>
                </a:p>
              </p:txBody>
            </p:sp>
            <p:sp>
              <p:nvSpPr>
                <p:cNvPr id="53" name="右箭头 52"/>
                <p:cNvSpPr/>
                <p:nvPr/>
              </p:nvSpPr>
              <p:spPr>
                <a:xfrm rot="16200000">
                  <a:off x="7625583" y="2386765"/>
                  <a:ext cx="393939" cy="345033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6">
                        <a:lumMod val="67000"/>
                      </a:schemeClr>
                    </a:gs>
                    <a:gs pos="48000">
                      <a:schemeClr val="accent6">
                        <a:lumMod val="97000"/>
                        <a:lumOff val="3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 sz="1428"/>
                </a:p>
              </p:txBody>
            </p:sp>
            <p:sp>
              <p:nvSpPr>
                <p:cNvPr id="54" name="右箭头 53"/>
                <p:cNvSpPr/>
                <p:nvPr/>
              </p:nvSpPr>
              <p:spPr>
                <a:xfrm rot="16200000">
                  <a:off x="7453066" y="1177896"/>
                  <a:ext cx="393939" cy="345033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6">
                        <a:lumMod val="67000"/>
                      </a:schemeClr>
                    </a:gs>
                    <a:gs pos="48000">
                      <a:schemeClr val="accent6">
                        <a:lumMod val="97000"/>
                        <a:lumOff val="3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zh-CN" altLang="en-US" sz="1428"/>
                </a:p>
              </p:txBody>
            </p:sp>
          </p:grpSp>
        </p:grpSp>
        <p:sp>
          <p:nvSpPr>
            <p:cNvPr id="58" name="上下箭头 57"/>
            <p:cNvSpPr/>
            <p:nvPr/>
          </p:nvSpPr>
          <p:spPr>
            <a:xfrm>
              <a:off x="5760571" y="2656933"/>
              <a:ext cx="311060" cy="2390773"/>
            </a:xfrm>
            <a:prstGeom prst="upDownArrow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428"/>
            </a:p>
          </p:txBody>
        </p:sp>
      </p:grpSp>
      <p:sp>
        <p:nvSpPr>
          <p:cNvPr id="70" name="圆角矩形 69"/>
          <p:cNvSpPr/>
          <p:nvPr/>
        </p:nvSpPr>
        <p:spPr>
          <a:xfrm>
            <a:off x="3489711" y="668447"/>
            <a:ext cx="396768" cy="425873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873"/>
              <a:t>CLI</a:t>
            </a:r>
            <a:endParaRPr kumimoji="1" lang="zh-CN" altLang="en-US" sz="873" dirty="0"/>
          </a:p>
        </p:txBody>
      </p:sp>
      <p:grpSp>
        <p:nvGrpSpPr>
          <p:cNvPr id="73" name="组 72"/>
          <p:cNvGrpSpPr/>
          <p:nvPr/>
        </p:nvGrpSpPr>
        <p:grpSpPr>
          <a:xfrm>
            <a:off x="4800820" y="498442"/>
            <a:ext cx="2759415" cy="1224258"/>
            <a:chOff x="288428" y="1710698"/>
            <a:chExt cx="3715445" cy="1770062"/>
          </a:xfrm>
        </p:grpSpPr>
        <p:sp>
          <p:nvSpPr>
            <p:cNvPr id="62" name="圆角矩形 61"/>
            <p:cNvSpPr/>
            <p:nvPr/>
          </p:nvSpPr>
          <p:spPr>
            <a:xfrm>
              <a:off x="288428" y="1710698"/>
              <a:ext cx="3715445" cy="1770062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kumimoji="1" lang="en-US" altLang="zh-CN" sz="1269" dirty="0"/>
                <a:t>App</a:t>
              </a:r>
              <a:endParaRPr kumimoji="1" lang="zh-CN" altLang="en-US" sz="1269" dirty="0"/>
            </a:p>
          </p:txBody>
        </p:sp>
        <p:sp>
          <p:nvSpPr>
            <p:cNvPr id="63" name="矩形 62"/>
            <p:cNvSpPr/>
            <p:nvPr/>
          </p:nvSpPr>
          <p:spPr>
            <a:xfrm>
              <a:off x="810108" y="2230477"/>
              <a:ext cx="1093200" cy="48453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111" dirty="0" err="1"/>
                <a:t>javascript</a:t>
              </a:r>
              <a:endParaRPr kumimoji="1" lang="zh-CN" altLang="en-US" sz="1111" dirty="0"/>
            </a:p>
          </p:txBody>
        </p:sp>
        <p:sp>
          <p:nvSpPr>
            <p:cNvPr id="64" name="矩形 63"/>
            <p:cNvSpPr/>
            <p:nvPr/>
          </p:nvSpPr>
          <p:spPr>
            <a:xfrm>
              <a:off x="2518660" y="2230477"/>
              <a:ext cx="1093200" cy="48453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111" dirty="0"/>
                <a:t>CSS</a:t>
              </a:r>
              <a:r>
                <a:rPr kumimoji="1" lang="zh-CN" altLang="en-US" sz="1111" dirty="0"/>
                <a:t> </a:t>
              </a:r>
              <a:r>
                <a:rPr kumimoji="1" lang="en-US" altLang="zh-CN" sz="1111" dirty="0" err="1"/>
                <a:t>Freamwork</a:t>
              </a:r>
              <a:endParaRPr kumimoji="1" lang="zh-CN" altLang="en-US" sz="1111" dirty="0"/>
            </a:p>
          </p:txBody>
        </p:sp>
        <p:sp>
          <p:nvSpPr>
            <p:cNvPr id="66" name="矩形 65"/>
            <p:cNvSpPr/>
            <p:nvPr/>
          </p:nvSpPr>
          <p:spPr>
            <a:xfrm>
              <a:off x="2518660" y="2891239"/>
              <a:ext cx="1093200" cy="48453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111" dirty="0"/>
                <a:t>Router</a:t>
              </a:r>
            </a:p>
          </p:txBody>
        </p:sp>
        <p:sp>
          <p:nvSpPr>
            <p:cNvPr id="67" name="矩形 66"/>
            <p:cNvSpPr/>
            <p:nvPr/>
          </p:nvSpPr>
          <p:spPr>
            <a:xfrm>
              <a:off x="810108" y="2891239"/>
              <a:ext cx="1093200" cy="48453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111" dirty="0"/>
                <a:t>MVC</a:t>
              </a:r>
              <a:r>
                <a:rPr kumimoji="1" lang="zh-CN" altLang="en-US" sz="1111" dirty="0"/>
                <a:t> </a:t>
              </a:r>
              <a:r>
                <a:rPr kumimoji="1" lang="en-US" altLang="zh-CN" sz="1111" dirty="0" err="1"/>
                <a:t>Freamwork</a:t>
              </a:r>
              <a:endParaRPr kumimoji="1" lang="en-US" altLang="zh-CN" sz="1111" dirty="0"/>
            </a:p>
          </p:txBody>
        </p:sp>
      </p:grpSp>
    </p:spTree>
    <p:extLst>
      <p:ext uri="{BB962C8B-B14F-4D97-AF65-F5344CB8AC3E}">
        <p14:creationId xmlns:p14="http://schemas.microsoft.com/office/powerpoint/2010/main" val="190904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矩形 110"/>
          <p:cNvSpPr/>
          <p:nvPr/>
        </p:nvSpPr>
        <p:spPr>
          <a:xfrm>
            <a:off x="2915323" y="1212754"/>
            <a:ext cx="1603963" cy="7959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kumimoji="1" lang="zh-CN" altLang="en-US" sz="1428" dirty="0">
              <a:solidFill>
                <a:schemeClr val="tx1"/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ctrTitle"/>
          </p:nvPr>
        </p:nvSpPr>
        <p:spPr>
          <a:xfrm>
            <a:off x="495224" y="39311"/>
            <a:ext cx="8191500" cy="396875"/>
          </a:xfrm>
        </p:spPr>
        <p:txBody>
          <a:bodyPr/>
          <a:lstStyle/>
          <a:p>
            <a:r>
              <a:rPr lang="en-US" altLang="zh-CN" dirty="0" smtClean="0">
                <a:latin typeface="+mj-ea"/>
                <a:ea typeface="+mj-ea"/>
              </a:rPr>
              <a:t>3.10 </a:t>
            </a:r>
            <a:r>
              <a:rPr lang="zh-CN" altLang="en-US" dirty="0" smtClean="0">
                <a:latin typeface="+mj-ea"/>
                <a:ea typeface="+mj-ea"/>
              </a:rPr>
              <a:t>系统拓补结构</a:t>
            </a:r>
            <a:endParaRPr lang="zh-CN" altLang="en-US" dirty="0">
              <a:latin typeface="+mj-ea"/>
              <a:ea typeface="+mj-ea"/>
            </a:endParaRPr>
          </a:p>
        </p:txBody>
      </p:sp>
      <p:grpSp>
        <p:nvGrpSpPr>
          <p:cNvPr id="36" name="组 35"/>
          <p:cNvGrpSpPr/>
          <p:nvPr/>
        </p:nvGrpSpPr>
        <p:grpSpPr>
          <a:xfrm>
            <a:off x="3221541" y="355378"/>
            <a:ext cx="991527" cy="463044"/>
            <a:chOff x="4704927" y="422839"/>
            <a:chExt cx="1249814" cy="583664"/>
          </a:xfrm>
        </p:grpSpPr>
        <p:pic>
          <p:nvPicPr>
            <p:cNvPr id="38" name="图片 3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4927" y="422839"/>
              <a:ext cx="465132" cy="465132"/>
            </a:xfrm>
            <a:prstGeom prst="rect">
              <a:avLst/>
            </a:prstGeom>
          </p:spPr>
        </p:pic>
        <p:grpSp>
          <p:nvGrpSpPr>
            <p:cNvPr id="39" name="组 38"/>
            <p:cNvGrpSpPr/>
            <p:nvPr/>
          </p:nvGrpSpPr>
          <p:grpSpPr>
            <a:xfrm>
              <a:off x="5094338" y="422839"/>
              <a:ext cx="860403" cy="583664"/>
              <a:chOff x="1420754" y="642998"/>
              <a:chExt cx="860403" cy="583664"/>
            </a:xfrm>
          </p:grpSpPr>
          <p:pic>
            <p:nvPicPr>
              <p:cNvPr id="40" name="图片 3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0754" y="662143"/>
                <a:ext cx="465132" cy="465132"/>
              </a:xfrm>
              <a:prstGeom prst="rect">
                <a:avLst/>
              </a:prstGeom>
            </p:spPr>
          </p:pic>
          <p:pic>
            <p:nvPicPr>
              <p:cNvPr id="41" name="图片 4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16025" y="642998"/>
                <a:ext cx="465132" cy="465132"/>
              </a:xfrm>
              <a:prstGeom prst="rect">
                <a:avLst/>
              </a:prstGeom>
            </p:spPr>
          </p:pic>
          <p:pic>
            <p:nvPicPr>
              <p:cNvPr id="42" name="图片 4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01445" y="761530"/>
                <a:ext cx="465132" cy="465132"/>
              </a:xfrm>
              <a:prstGeom prst="rect">
                <a:avLst/>
              </a:prstGeom>
            </p:spPr>
          </p:pic>
        </p:grpSp>
      </p:grpSp>
      <p:grpSp>
        <p:nvGrpSpPr>
          <p:cNvPr id="50" name="组 49"/>
          <p:cNvGrpSpPr/>
          <p:nvPr/>
        </p:nvGrpSpPr>
        <p:grpSpPr>
          <a:xfrm>
            <a:off x="3858577" y="3257273"/>
            <a:ext cx="410399" cy="537323"/>
            <a:chOff x="970029" y="1322406"/>
            <a:chExt cx="517305" cy="677292"/>
          </a:xfrm>
        </p:grpSpPr>
        <p:pic>
          <p:nvPicPr>
            <p:cNvPr id="55" name="图片 5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029" y="1322406"/>
              <a:ext cx="465132" cy="465132"/>
            </a:xfrm>
            <a:prstGeom prst="rect">
              <a:avLst/>
            </a:prstGeom>
          </p:spPr>
        </p:pic>
        <p:sp>
          <p:nvSpPr>
            <p:cNvPr id="56" name="文本框 55"/>
            <p:cNvSpPr txBox="1"/>
            <p:nvPr/>
          </p:nvSpPr>
          <p:spPr>
            <a:xfrm>
              <a:off x="1010074" y="1729506"/>
              <a:ext cx="477260" cy="2701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793" dirty="0"/>
                <a:t>SLB</a:t>
              </a:r>
              <a:endParaRPr kumimoji="1" lang="zh-CN" altLang="en-US" sz="793" dirty="0"/>
            </a:p>
          </p:txBody>
        </p:sp>
      </p:grpSp>
      <p:grpSp>
        <p:nvGrpSpPr>
          <p:cNvPr id="57" name="组 56"/>
          <p:cNvGrpSpPr/>
          <p:nvPr/>
        </p:nvGrpSpPr>
        <p:grpSpPr>
          <a:xfrm>
            <a:off x="3143831" y="1413795"/>
            <a:ext cx="432697" cy="534866"/>
            <a:chOff x="1998138" y="1287678"/>
            <a:chExt cx="545411" cy="674195"/>
          </a:xfrm>
        </p:grpSpPr>
        <p:pic>
          <p:nvPicPr>
            <p:cNvPr id="59" name="图片 5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8138" y="1287678"/>
              <a:ext cx="465132" cy="465132"/>
            </a:xfrm>
            <a:prstGeom prst="rect">
              <a:avLst/>
            </a:prstGeom>
          </p:spPr>
        </p:pic>
        <p:sp>
          <p:nvSpPr>
            <p:cNvPr id="60" name="文本框 59"/>
            <p:cNvSpPr txBox="1"/>
            <p:nvPr/>
          </p:nvSpPr>
          <p:spPr>
            <a:xfrm>
              <a:off x="2011734" y="1683922"/>
              <a:ext cx="531815" cy="2779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CDN</a:t>
              </a:r>
              <a:endParaRPr kumimoji="1" lang="zh-CN" altLang="en-US" sz="833" dirty="0"/>
            </a:p>
          </p:txBody>
        </p:sp>
      </p:grpSp>
      <p:grpSp>
        <p:nvGrpSpPr>
          <p:cNvPr id="5" name="组 4"/>
          <p:cNvGrpSpPr/>
          <p:nvPr/>
        </p:nvGrpSpPr>
        <p:grpSpPr>
          <a:xfrm>
            <a:off x="4781369" y="2415314"/>
            <a:ext cx="726046" cy="2056565"/>
            <a:chOff x="4483650" y="2203414"/>
            <a:chExt cx="915177" cy="2592288"/>
          </a:xfrm>
        </p:grpSpPr>
        <p:sp>
          <p:nvSpPr>
            <p:cNvPr id="75" name="矩形 74"/>
            <p:cNvSpPr/>
            <p:nvPr/>
          </p:nvSpPr>
          <p:spPr>
            <a:xfrm>
              <a:off x="4483650" y="2203414"/>
              <a:ext cx="915177" cy="2592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zh-CN" altLang="en-US" sz="1428" dirty="0">
                <a:solidFill>
                  <a:schemeClr val="tx1"/>
                </a:solidFill>
              </a:endParaRPr>
            </a:p>
          </p:txBody>
        </p:sp>
        <p:grpSp>
          <p:nvGrpSpPr>
            <p:cNvPr id="76" name="组 75"/>
            <p:cNvGrpSpPr/>
            <p:nvPr/>
          </p:nvGrpSpPr>
          <p:grpSpPr>
            <a:xfrm>
              <a:off x="4704927" y="2328593"/>
              <a:ext cx="547448" cy="678673"/>
              <a:chOff x="4053437" y="600401"/>
              <a:chExt cx="547448" cy="678673"/>
            </a:xfrm>
          </p:grpSpPr>
          <p:pic>
            <p:nvPicPr>
              <p:cNvPr id="77" name="图片 7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53437" y="600401"/>
                <a:ext cx="465132" cy="465132"/>
              </a:xfrm>
              <a:prstGeom prst="rect">
                <a:avLst/>
              </a:prstGeom>
            </p:spPr>
          </p:pic>
          <p:sp>
            <p:nvSpPr>
              <p:cNvPr id="78" name="文本框 77"/>
              <p:cNvSpPr txBox="1"/>
              <p:nvPr/>
            </p:nvSpPr>
            <p:spPr>
              <a:xfrm>
                <a:off x="4095337" y="1001122"/>
                <a:ext cx="505548" cy="2779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/>
                  <a:t>ECS</a:t>
                </a:r>
                <a:endParaRPr kumimoji="1" lang="zh-CN" altLang="en-US" sz="833" dirty="0"/>
              </a:p>
            </p:txBody>
          </p:sp>
        </p:grpSp>
        <p:grpSp>
          <p:nvGrpSpPr>
            <p:cNvPr id="79" name="组 78"/>
            <p:cNvGrpSpPr/>
            <p:nvPr/>
          </p:nvGrpSpPr>
          <p:grpSpPr>
            <a:xfrm>
              <a:off x="4704927" y="3264697"/>
              <a:ext cx="547448" cy="678673"/>
              <a:chOff x="4053437" y="449820"/>
              <a:chExt cx="547448" cy="678673"/>
            </a:xfrm>
          </p:grpSpPr>
          <p:pic>
            <p:nvPicPr>
              <p:cNvPr id="80" name="图片 79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53437" y="449820"/>
                <a:ext cx="465132" cy="465132"/>
              </a:xfrm>
              <a:prstGeom prst="rect">
                <a:avLst/>
              </a:prstGeom>
            </p:spPr>
          </p:pic>
          <p:sp>
            <p:nvSpPr>
              <p:cNvPr id="81" name="文本框 80"/>
              <p:cNvSpPr txBox="1"/>
              <p:nvPr/>
            </p:nvSpPr>
            <p:spPr>
              <a:xfrm>
                <a:off x="4095337" y="850541"/>
                <a:ext cx="505548" cy="2779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/>
                  <a:t>ECS</a:t>
                </a:r>
                <a:endParaRPr kumimoji="1" lang="zh-CN" altLang="en-US" sz="833" dirty="0"/>
              </a:p>
            </p:txBody>
          </p:sp>
        </p:grpSp>
      </p:grpSp>
      <p:grpSp>
        <p:nvGrpSpPr>
          <p:cNvPr id="4" name="组 3"/>
          <p:cNvGrpSpPr/>
          <p:nvPr/>
        </p:nvGrpSpPr>
        <p:grpSpPr>
          <a:xfrm>
            <a:off x="6132273" y="2415314"/>
            <a:ext cx="726046" cy="2056565"/>
            <a:chOff x="6245119" y="2222251"/>
            <a:chExt cx="915177" cy="2592288"/>
          </a:xfrm>
        </p:grpSpPr>
        <p:sp>
          <p:nvSpPr>
            <p:cNvPr id="82" name="矩形 81"/>
            <p:cNvSpPr/>
            <p:nvPr/>
          </p:nvSpPr>
          <p:spPr>
            <a:xfrm>
              <a:off x="6245119" y="2222251"/>
              <a:ext cx="915177" cy="2592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zh-CN" altLang="en-US" sz="1428" dirty="0">
                <a:solidFill>
                  <a:schemeClr val="tx1"/>
                </a:solidFill>
              </a:endParaRPr>
            </a:p>
          </p:txBody>
        </p:sp>
        <p:grpSp>
          <p:nvGrpSpPr>
            <p:cNvPr id="90" name="组 89"/>
            <p:cNvGrpSpPr/>
            <p:nvPr/>
          </p:nvGrpSpPr>
          <p:grpSpPr>
            <a:xfrm>
              <a:off x="6468707" y="2347430"/>
              <a:ext cx="553575" cy="692731"/>
              <a:chOff x="5365078" y="729138"/>
              <a:chExt cx="553575" cy="692731"/>
            </a:xfrm>
          </p:grpSpPr>
          <p:pic>
            <p:nvPicPr>
              <p:cNvPr id="91" name="图片 90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65078" y="729138"/>
                <a:ext cx="468000" cy="468000"/>
              </a:xfrm>
              <a:prstGeom prst="rect">
                <a:avLst/>
              </a:prstGeom>
            </p:spPr>
          </p:pic>
          <p:sp>
            <p:nvSpPr>
              <p:cNvPr id="92" name="文本框 91"/>
              <p:cNvSpPr txBox="1"/>
              <p:nvPr/>
            </p:nvSpPr>
            <p:spPr>
              <a:xfrm>
                <a:off x="5396940" y="1143917"/>
                <a:ext cx="521713" cy="2779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/>
                  <a:t>RDS</a:t>
                </a:r>
                <a:endParaRPr kumimoji="1" lang="zh-CN" altLang="en-US" sz="833" dirty="0"/>
              </a:p>
            </p:txBody>
          </p:sp>
        </p:grpSp>
        <p:grpSp>
          <p:nvGrpSpPr>
            <p:cNvPr id="93" name="组 92"/>
            <p:cNvGrpSpPr/>
            <p:nvPr/>
          </p:nvGrpSpPr>
          <p:grpSpPr>
            <a:xfrm>
              <a:off x="6500568" y="3283534"/>
              <a:ext cx="553575" cy="692731"/>
              <a:chOff x="5365078" y="564499"/>
              <a:chExt cx="553575" cy="692731"/>
            </a:xfrm>
          </p:grpSpPr>
          <p:pic>
            <p:nvPicPr>
              <p:cNvPr id="94" name="图片 93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65078" y="564499"/>
                <a:ext cx="468000" cy="468000"/>
              </a:xfrm>
              <a:prstGeom prst="rect">
                <a:avLst/>
              </a:prstGeom>
            </p:spPr>
          </p:pic>
          <p:sp>
            <p:nvSpPr>
              <p:cNvPr id="95" name="文本框 94"/>
              <p:cNvSpPr txBox="1"/>
              <p:nvPr/>
            </p:nvSpPr>
            <p:spPr>
              <a:xfrm>
                <a:off x="5396940" y="979278"/>
                <a:ext cx="521713" cy="2779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/>
                  <a:t>RDS</a:t>
                </a:r>
                <a:endParaRPr kumimoji="1" lang="zh-CN" altLang="en-US" sz="833" dirty="0"/>
              </a:p>
            </p:txBody>
          </p:sp>
        </p:grpSp>
      </p:grpSp>
      <p:grpSp>
        <p:nvGrpSpPr>
          <p:cNvPr id="3" name="组 2"/>
          <p:cNvGrpSpPr/>
          <p:nvPr/>
        </p:nvGrpSpPr>
        <p:grpSpPr>
          <a:xfrm>
            <a:off x="7483177" y="2415314"/>
            <a:ext cx="726046" cy="2056565"/>
            <a:chOff x="7991318" y="2206004"/>
            <a:chExt cx="915177" cy="2592288"/>
          </a:xfrm>
        </p:grpSpPr>
        <p:sp>
          <p:nvSpPr>
            <p:cNvPr id="89" name="矩形 88"/>
            <p:cNvSpPr/>
            <p:nvPr/>
          </p:nvSpPr>
          <p:spPr>
            <a:xfrm>
              <a:off x="7991318" y="2206004"/>
              <a:ext cx="915177" cy="2592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zh-CN" altLang="en-US" sz="1428" dirty="0">
                <a:solidFill>
                  <a:schemeClr val="tx1"/>
                </a:solidFill>
              </a:endParaRPr>
            </a:p>
          </p:txBody>
        </p:sp>
        <p:grpSp>
          <p:nvGrpSpPr>
            <p:cNvPr id="96" name="组 95"/>
            <p:cNvGrpSpPr/>
            <p:nvPr/>
          </p:nvGrpSpPr>
          <p:grpSpPr>
            <a:xfrm>
              <a:off x="8209097" y="2432920"/>
              <a:ext cx="598496" cy="655256"/>
              <a:chOff x="6337101" y="882263"/>
              <a:chExt cx="598496" cy="655256"/>
            </a:xfrm>
          </p:grpSpPr>
          <p:pic>
            <p:nvPicPr>
              <p:cNvPr id="97" name="图片 96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39584" y="882263"/>
                <a:ext cx="465132" cy="465132"/>
              </a:xfrm>
              <a:prstGeom prst="rect">
                <a:avLst/>
              </a:prstGeom>
            </p:spPr>
          </p:pic>
          <p:sp>
            <p:nvSpPr>
              <p:cNvPr id="98" name="文本框 97"/>
              <p:cNvSpPr txBox="1"/>
              <p:nvPr/>
            </p:nvSpPr>
            <p:spPr>
              <a:xfrm>
                <a:off x="6337101" y="1259568"/>
                <a:ext cx="598496" cy="2779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 err="1"/>
                  <a:t>Redis</a:t>
                </a:r>
                <a:endParaRPr kumimoji="1" lang="zh-CN" altLang="en-US" sz="833" dirty="0"/>
              </a:p>
            </p:txBody>
          </p:sp>
        </p:grpSp>
        <p:grpSp>
          <p:nvGrpSpPr>
            <p:cNvPr id="99" name="组 98"/>
            <p:cNvGrpSpPr/>
            <p:nvPr/>
          </p:nvGrpSpPr>
          <p:grpSpPr>
            <a:xfrm>
              <a:off x="8281317" y="3601715"/>
              <a:ext cx="598496" cy="655256"/>
              <a:chOff x="6337101" y="882263"/>
              <a:chExt cx="598496" cy="655256"/>
            </a:xfrm>
          </p:grpSpPr>
          <p:pic>
            <p:nvPicPr>
              <p:cNvPr id="100" name="图片 99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39584" y="882263"/>
                <a:ext cx="465132" cy="465132"/>
              </a:xfrm>
              <a:prstGeom prst="rect">
                <a:avLst/>
              </a:prstGeom>
            </p:spPr>
          </p:pic>
          <p:sp>
            <p:nvSpPr>
              <p:cNvPr id="101" name="文本框 100"/>
              <p:cNvSpPr txBox="1"/>
              <p:nvPr/>
            </p:nvSpPr>
            <p:spPr>
              <a:xfrm>
                <a:off x="6337101" y="1259568"/>
                <a:ext cx="598496" cy="2779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 err="1"/>
                  <a:t>Redis</a:t>
                </a:r>
                <a:endParaRPr kumimoji="1" lang="zh-CN" altLang="en-US" sz="833" dirty="0"/>
              </a:p>
            </p:txBody>
          </p:sp>
        </p:grpSp>
      </p:grpSp>
      <p:grpSp>
        <p:nvGrpSpPr>
          <p:cNvPr id="2" name="组 1"/>
          <p:cNvGrpSpPr/>
          <p:nvPr/>
        </p:nvGrpSpPr>
        <p:grpSpPr>
          <a:xfrm>
            <a:off x="1952057" y="2377905"/>
            <a:ext cx="726046" cy="2056565"/>
            <a:chOff x="9865493" y="2222251"/>
            <a:chExt cx="915177" cy="2592288"/>
          </a:xfrm>
        </p:grpSpPr>
        <p:sp>
          <p:nvSpPr>
            <p:cNvPr id="102" name="矩形 101"/>
            <p:cNvSpPr/>
            <p:nvPr/>
          </p:nvSpPr>
          <p:spPr>
            <a:xfrm>
              <a:off x="9865493" y="2222251"/>
              <a:ext cx="915177" cy="25922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zh-CN" altLang="en-US" sz="1428" dirty="0">
                <a:solidFill>
                  <a:schemeClr val="tx1"/>
                </a:solidFill>
              </a:endParaRPr>
            </a:p>
          </p:txBody>
        </p:sp>
        <p:grpSp>
          <p:nvGrpSpPr>
            <p:cNvPr id="103" name="组 102"/>
            <p:cNvGrpSpPr/>
            <p:nvPr/>
          </p:nvGrpSpPr>
          <p:grpSpPr>
            <a:xfrm>
              <a:off x="10089081" y="2418699"/>
              <a:ext cx="552508" cy="656581"/>
              <a:chOff x="4885566" y="270035"/>
              <a:chExt cx="552508" cy="656581"/>
            </a:xfrm>
          </p:grpSpPr>
          <p:pic>
            <p:nvPicPr>
              <p:cNvPr id="104" name="图片 103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85566" y="270035"/>
                <a:ext cx="468000" cy="468000"/>
              </a:xfrm>
              <a:prstGeom prst="rect">
                <a:avLst/>
              </a:prstGeom>
            </p:spPr>
          </p:pic>
          <p:sp>
            <p:nvSpPr>
              <p:cNvPr id="105" name="文本框 104"/>
              <p:cNvSpPr txBox="1"/>
              <p:nvPr/>
            </p:nvSpPr>
            <p:spPr>
              <a:xfrm>
                <a:off x="4914341" y="648665"/>
                <a:ext cx="523733" cy="2779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/>
                  <a:t>OSS</a:t>
                </a:r>
                <a:endParaRPr kumimoji="1" lang="zh-CN" altLang="en-US" sz="833" dirty="0"/>
              </a:p>
            </p:txBody>
          </p:sp>
        </p:grpSp>
        <p:grpSp>
          <p:nvGrpSpPr>
            <p:cNvPr id="106" name="组 105"/>
            <p:cNvGrpSpPr/>
            <p:nvPr/>
          </p:nvGrpSpPr>
          <p:grpSpPr>
            <a:xfrm>
              <a:off x="10117855" y="3605075"/>
              <a:ext cx="552508" cy="656581"/>
              <a:chOff x="4885566" y="270035"/>
              <a:chExt cx="552508" cy="656581"/>
            </a:xfrm>
          </p:grpSpPr>
          <p:pic>
            <p:nvPicPr>
              <p:cNvPr id="107" name="图片 106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85566" y="270035"/>
                <a:ext cx="468000" cy="468000"/>
              </a:xfrm>
              <a:prstGeom prst="rect">
                <a:avLst/>
              </a:prstGeom>
            </p:spPr>
          </p:pic>
          <p:sp>
            <p:nvSpPr>
              <p:cNvPr id="108" name="文本框 107"/>
              <p:cNvSpPr txBox="1"/>
              <p:nvPr/>
            </p:nvSpPr>
            <p:spPr>
              <a:xfrm>
                <a:off x="4914341" y="648665"/>
                <a:ext cx="523733" cy="2779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en-US" altLang="zh-CN" sz="833" dirty="0"/>
                  <a:t>OSS</a:t>
                </a:r>
                <a:endParaRPr kumimoji="1" lang="zh-CN" altLang="en-US" sz="833" dirty="0"/>
              </a:p>
            </p:txBody>
          </p:sp>
        </p:grpSp>
      </p:grpSp>
      <p:grpSp>
        <p:nvGrpSpPr>
          <p:cNvPr id="7" name="组 6"/>
          <p:cNvGrpSpPr/>
          <p:nvPr/>
        </p:nvGrpSpPr>
        <p:grpSpPr>
          <a:xfrm>
            <a:off x="3835414" y="1425901"/>
            <a:ext cx="505267" cy="546131"/>
            <a:chOff x="6148064" y="1663545"/>
            <a:chExt cx="636886" cy="688395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7559" y="1663545"/>
              <a:ext cx="468000" cy="468000"/>
            </a:xfrm>
            <a:prstGeom prst="rect">
              <a:avLst/>
            </a:prstGeom>
          </p:spPr>
        </p:pic>
        <p:sp>
          <p:nvSpPr>
            <p:cNvPr id="109" name="文本框 108"/>
            <p:cNvSpPr txBox="1"/>
            <p:nvPr/>
          </p:nvSpPr>
          <p:spPr>
            <a:xfrm>
              <a:off x="6148064" y="2073988"/>
              <a:ext cx="636886" cy="2779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zh-CN" sz="833" dirty="0"/>
                <a:t>DDOS</a:t>
              </a:r>
              <a:endParaRPr kumimoji="1" lang="zh-CN" altLang="en-US" sz="833" dirty="0"/>
            </a:p>
          </p:txBody>
        </p:sp>
      </p:grpSp>
      <p:sp>
        <p:nvSpPr>
          <p:cNvPr id="8" name="矩形 7"/>
          <p:cNvSpPr/>
          <p:nvPr/>
        </p:nvSpPr>
        <p:spPr>
          <a:xfrm>
            <a:off x="3600844" y="2228989"/>
            <a:ext cx="5027160" cy="2513580"/>
          </a:xfrm>
          <a:prstGeom prst="rect">
            <a:avLst/>
          </a:prstGeom>
          <a:noFill/>
          <a:ln w="3175">
            <a:solidFill>
              <a:schemeClr val="accent1">
                <a:shade val="95000"/>
                <a:satMod val="105000"/>
                <a:alpha val="48000"/>
              </a:schemeClr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sp>
        <p:nvSpPr>
          <p:cNvPr id="118" name="矩形 117"/>
          <p:cNvSpPr/>
          <p:nvPr/>
        </p:nvSpPr>
        <p:spPr>
          <a:xfrm>
            <a:off x="1487152" y="2228989"/>
            <a:ext cx="1590023" cy="2513580"/>
          </a:xfrm>
          <a:prstGeom prst="rect">
            <a:avLst/>
          </a:prstGeom>
          <a:noFill/>
          <a:ln w="3175">
            <a:solidFill>
              <a:schemeClr val="accent1">
                <a:shade val="95000"/>
                <a:satMod val="105000"/>
                <a:alpha val="48000"/>
              </a:schemeClr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428"/>
          </a:p>
        </p:txBody>
      </p:sp>
      <p:cxnSp>
        <p:nvCxnSpPr>
          <p:cNvPr id="16" name="直线箭头连接符 15"/>
          <p:cNvCxnSpPr>
            <a:stCxn id="75" idx="3"/>
            <a:endCxn id="82" idx="1"/>
          </p:cNvCxnSpPr>
          <p:nvPr/>
        </p:nvCxnSpPr>
        <p:spPr>
          <a:xfrm>
            <a:off x="5507416" y="3443596"/>
            <a:ext cx="62485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肘形连接符 24"/>
          <p:cNvCxnSpPr>
            <a:stCxn id="60" idx="2"/>
            <a:endCxn id="102" idx="3"/>
          </p:cNvCxnSpPr>
          <p:nvPr/>
        </p:nvCxnSpPr>
        <p:spPr>
          <a:xfrm rot="5400000">
            <a:off x="2267973" y="2345826"/>
            <a:ext cx="1470491" cy="65023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直线箭头连接符 120"/>
          <p:cNvCxnSpPr>
            <a:stCxn id="40" idx="2"/>
            <a:endCxn id="111" idx="0"/>
          </p:cNvCxnSpPr>
          <p:nvPr/>
        </p:nvCxnSpPr>
        <p:spPr>
          <a:xfrm>
            <a:off x="3714980" y="739574"/>
            <a:ext cx="2324" cy="4731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直线箭头连接符 123"/>
          <p:cNvCxnSpPr>
            <a:stCxn id="55" idx="3"/>
            <a:endCxn id="75" idx="1"/>
          </p:cNvCxnSpPr>
          <p:nvPr/>
        </p:nvCxnSpPr>
        <p:spPr>
          <a:xfrm>
            <a:off x="4227585" y="3441776"/>
            <a:ext cx="553784" cy="18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直线箭头连接符 127"/>
          <p:cNvCxnSpPr>
            <a:stCxn id="109" idx="2"/>
            <a:endCxn id="55" idx="0"/>
          </p:cNvCxnSpPr>
          <p:nvPr/>
        </p:nvCxnSpPr>
        <p:spPr>
          <a:xfrm>
            <a:off x="4035203" y="1952963"/>
            <a:ext cx="7879" cy="13043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肘形连接符 133"/>
          <p:cNvCxnSpPr>
            <a:stCxn id="75" idx="2"/>
            <a:endCxn id="102" idx="2"/>
          </p:cNvCxnSpPr>
          <p:nvPr/>
        </p:nvCxnSpPr>
        <p:spPr>
          <a:xfrm rot="5400000" flipH="1">
            <a:off x="3711032" y="3038519"/>
            <a:ext cx="37409" cy="2829313"/>
          </a:xfrm>
          <a:prstGeom prst="bentConnector3">
            <a:avLst>
              <a:gd name="adj1" fmla="val -484795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肘形连接符 9"/>
          <p:cNvCxnSpPr>
            <a:stCxn id="75" idx="0"/>
            <a:endCxn id="89" idx="0"/>
          </p:cNvCxnSpPr>
          <p:nvPr/>
        </p:nvCxnSpPr>
        <p:spPr>
          <a:xfrm rot="5400000" flipH="1" flipV="1">
            <a:off x="6495296" y="1064410"/>
            <a:ext cx="10075" cy="2701808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" name="图片 6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659" y="3953511"/>
            <a:ext cx="371283" cy="371283"/>
          </a:xfrm>
          <a:prstGeom prst="rect">
            <a:avLst/>
          </a:prstGeom>
        </p:spPr>
      </p:pic>
      <p:sp>
        <p:nvSpPr>
          <p:cNvPr id="67" name="文本框 66"/>
          <p:cNvSpPr txBox="1"/>
          <p:nvPr/>
        </p:nvSpPr>
        <p:spPr>
          <a:xfrm>
            <a:off x="6381935" y="4282572"/>
            <a:ext cx="413896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33" dirty="0"/>
              <a:t>RDS</a:t>
            </a:r>
            <a:endParaRPr kumimoji="1" lang="zh-CN" altLang="en-US" sz="833" dirty="0"/>
          </a:p>
        </p:txBody>
      </p:sp>
      <p:pic>
        <p:nvPicPr>
          <p:cNvPr id="68" name="图片 6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333" y="3891595"/>
            <a:ext cx="369008" cy="369008"/>
          </a:xfrm>
          <a:prstGeom prst="rect">
            <a:avLst/>
          </a:prstGeom>
        </p:spPr>
      </p:pic>
      <p:sp>
        <p:nvSpPr>
          <p:cNvPr id="69" name="文本框 68"/>
          <p:cNvSpPr txBox="1"/>
          <p:nvPr/>
        </p:nvSpPr>
        <p:spPr>
          <a:xfrm>
            <a:off x="4986574" y="4209503"/>
            <a:ext cx="401072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833" dirty="0"/>
              <a:t>ECS</a:t>
            </a:r>
            <a:endParaRPr kumimoji="1" lang="zh-CN" altLang="en-US" sz="833" dirty="0"/>
          </a:p>
        </p:txBody>
      </p:sp>
    </p:spTree>
    <p:extLst>
      <p:ext uri="{BB962C8B-B14F-4D97-AF65-F5344CB8AC3E}">
        <p14:creationId xmlns:p14="http://schemas.microsoft.com/office/powerpoint/2010/main" val="175446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68313" y="158750"/>
            <a:ext cx="8191500" cy="396875"/>
          </a:xfrm>
        </p:spPr>
        <p:txBody>
          <a:bodyPr/>
          <a:lstStyle/>
          <a:p>
            <a:r>
              <a:rPr lang="en-US" altLang="zh-CN" dirty="0" smtClean="0"/>
              <a:t>4.1  </a:t>
            </a:r>
            <a:r>
              <a:rPr lang="zh-CN" altLang="en-US" dirty="0" smtClean="0"/>
              <a:t>项目启动</a:t>
            </a:r>
            <a:r>
              <a:rPr lang="zh-CN" altLang="en-US" dirty="0"/>
              <a:t>资料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487016" y="2810760"/>
            <a:ext cx="81886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</a:rPr>
              <a:t>观</a:t>
            </a:r>
            <a:r>
              <a:rPr lang="zh-CN" altLang="zh-CN" sz="1400" dirty="0">
                <a:latin typeface="+mn-ea"/>
              </a:rPr>
              <a:t>致品牌的宣传资料，标准宣传用文字，图标，颜色，大小等内容，提供观致</a:t>
            </a:r>
            <a:r>
              <a:rPr lang="en-US" altLang="zh-CN" sz="1400" dirty="0">
                <a:latin typeface="+mn-ea"/>
              </a:rPr>
              <a:t>VI,CI</a:t>
            </a:r>
            <a:r>
              <a:rPr lang="zh-CN" altLang="zh-CN" sz="1400" dirty="0">
                <a:latin typeface="+mn-ea"/>
              </a:rPr>
              <a:t>设计标准文件即可（含设计文件及标准说明）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</a:rPr>
              <a:t>观</a:t>
            </a:r>
            <a:r>
              <a:rPr lang="zh-CN" altLang="zh-CN" sz="1400" dirty="0">
                <a:latin typeface="+mn-ea"/>
              </a:rPr>
              <a:t>致现有在售所有车型文案资料，车辆图片，介绍，参数，对比，提供车辆规配表，在售车辆高清图片（设计文件，或者原始大图）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</a:rPr>
              <a:t>观</a:t>
            </a:r>
            <a:r>
              <a:rPr lang="zh-CN" altLang="zh-CN" sz="1400" dirty="0">
                <a:latin typeface="+mn-ea"/>
              </a:rPr>
              <a:t>致其他品牌理念，主题等品牌元素（设计文件）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</a:rPr>
              <a:t>观</a:t>
            </a:r>
            <a:r>
              <a:rPr lang="zh-CN" altLang="zh-CN" sz="1400" dirty="0">
                <a:latin typeface="+mn-ea"/>
              </a:rPr>
              <a:t>致</a:t>
            </a:r>
            <a:r>
              <a:rPr lang="en-US" altLang="zh-CN" sz="1400" dirty="0">
                <a:latin typeface="+mn-ea"/>
              </a:rPr>
              <a:t>2018</a:t>
            </a:r>
            <a:r>
              <a:rPr lang="zh-CN" altLang="zh-CN" sz="1400" dirty="0">
                <a:latin typeface="+mn-ea"/>
              </a:rPr>
              <a:t>年市场宣传</a:t>
            </a:r>
            <a:r>
              <a:rPr lang="zh-CN" altLang="zh-CN" sz="1400" dirty="0" smtClean="0">
                <a:latin typeface="+mn-ea"/>
              </a:rPr>
              <a:t>计划</a:t>
            </a:r>
            <a:endParaRPr lang="zh-CN" altLang="zh-CN" sz="1400" dirty="0">
              <a:latin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87016" y="676615"/>
            <a:ext cx="651171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.PingFang SC"/>
              </a:rPr>
              <a:t>商务</a:t>
            </a:r>
            <a:r>
              <a:rPr lang="zh-CN" altLang="zh-CN" sz="1400" dirty="0">
                <a:latin typeface="+mn-ea"/>
                <a:cs typeface=".PingFang SC"/>
              </a:rPr>
              <a:t>确认（责任方：双方）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Times New Roman" panose="02020603050405020304" pitchFamily="18" charset="0"/>
              </a:rPr>
              <a:t>项目</a:t>
            </a:r>
            <a:r>
              <a:rPr lang="zh-CN" altLang="zh-CN" sz="1400" dirty="0">
                <a:latin typeface="+mn-ea"/>
                <a:cs typeface="Times New Roman" panose="02020603050405020304" pitchFamily="18" charset="0"/>
              </a:rPr>
              <a:t>整体计划制定</a:t>
            </a:r>
            <a:r>
              <a:rPr lang="zh-CN" altLang="zh-CN" sz="1400" dirty="0">
                <a:latin typeface="+mn-ea"/>
                <a:cs typeface=".PingFang SC"/>
              </a:rPr>
              <a:t>（责任方：易时，观致修正）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Times New Roman" panose="02020603050405020304" pitchFamily="18" charset="0"/>
              </a:rPr>
              <a:t>制定</a:t>
            </a:r>
            <a:r>
              <a:rPr lang="zh-CN" altLang="zh-CN" sz="1400" dirty="0">
                <a:latin typeface="+mn-ea"/>
                <a:cs typeface="Times New Roman" panose="02020603050405020304" pitchFamily="18" charset="0"/>
              </a:rPr>
              <a:t>项目管理章程</a:t>
            </a:r>
            <a:r>
              <a:rPr lang="zh-CN" altLang="zh-CN" sz="1400" dirty="0">
                <a:latin typeface="+mn-ea"/>
                <a:cs typeface=".PingFang SC"/>
              </a:rPr>
              <a:t>（责任方：观致，易时执行）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.PingFang SC"/>
              </a:rPr>
              <a:t>召开</a:t>
            </a:r>
            <a:r>
              <a:rPr lang="zh-CN" altLang="zh-CN" sz="1400" dirty="0">
                <a:latin typeface="+mn-ea"/>
                <a:cs typeface=".PingFang SC"/>
              </a:rPr>
              <a:t>项目启动会议（责任方：观致，易时配合）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.PingFang SC"/>
              </a:rPr>
              <a:t>开发</a:t>
            </a:r>
            <a:r>
              <a:rPr lang="zh-CN" altLang="zh-CN" sz="1400" dirty="0">
                <a:latin typeface="+mn-ea"/>
                <a:cs typeface=".PingFang SC"/>
              </a:rPr>
              <a:t>人员项目培训（责任方：易时）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68313" y="2450760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准备资料</a:t>
            </a:r>
            <a:endParaRPr lang="zh-CN" altLang="en-US" sz="1600" dirty="0"/>
          </a:p>
        </p:txBody>
      </p:sp>
      <p:sp>
        <p:nvSpPr>
          <p:cNvPr id="7" name="文本框 6"/>
          <p:cNvSpPr txBox="1"/>
          <p:nvPr/>
        </p:nvSpPr>
        <p:spPr>
          <a:xfrm>
            <a:off x="2936962" y="2571750"/>
            <a:ext cx="19092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责任方：观致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4903880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68313" y="158750"/>
            <a:ext cx="8191500" cy="396875"/>
          </a:xfrm>
        </p:spPr>
        <p:txBody>
          <a:bodyPr/>
          <a:lstStyle/>
          <a:p>
            <a:r>
              <a:rPr lang="en-US" altLang="zh-CN" dirty="0" smtClean="0"/>
              <a:t>4.2 </a:t>
            </a:r>
            <a:r>
              <a:rPr lang="zh-CN" altLang="en-US" dirty="0" smtClean="0"/>
              <a:t>项目启动系统环境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468313" y="725091"/>
            <a:ext cx="81915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400" dirty="0" smtClean="0">
                <a:latin typeface="+mn-ea"/>
                <a:cs typeface="Times New Roman" panose="02020603050405020304" pitchFamily="18" charset="0"/>
              </a:rPr>
              <a:t>SVN</a:t>
            </a:r>
            <a:r>
              <a:rPr lang="zh-CN" altLang="zh-CN" sz="1400" dirty="0">
                <a:latin typeface="+mn-ea"/>
                <a:cs typeface=".PingFang SC"/>
              </a:rPr>
              <a:t>服务器账号信息（</a:t>
            </a:r>
            <a:r>
              <a:rPr lang="en-US" altLang="zh-CN" sz="1400" dirty="0">
                <a:latin typeface="+mn-ea"/>
                <a:cs typeface="Times New Roman" panose="02020603050405020304" pitchFamily="18" charset="0"/>
              </a:rPr>
              <a:t>10</a:t>
            </a:r>
            <a:r>
              <a:rPr lang="zh-CN" altLang="zh-CN" sz="1400" dirty="0">
                <a:latin typeface="+mn-ea"/>
                <a:cs typeface=".PingFang SC"/>
              </a:rPr>
              <a:t>个账号），观致的</a:t>
            </a:r>
            <a:r>
              <a:rPr lang="en-US" altLang="zh-CN" sz="1400" dirty="0">
                <a:latin typeface="+mn-ea"/>
                <a:cs typeface="Times New Roman" panose="02020603050405020304" pitchFamily="18" charset="0"/>
              </a:rPr>
              <a:t>SVN</a:t>
            </a:r>
            <a:r>
              <a:rPr lang="zh-CN" altLang="zh-CN" sz="1400" dirty="0">
                <a:latin typeface="+mn-ea"/>
                <a:cs typeface=".PingFang SC"/>
              </a:rPr>
              <a:t>规范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.PingFang SC"/>
              </a:rPr>
              <a:t>开发</a:t>
            </a:r>
            <a:r>
              <a:rPr lang="zh-CN" altLang="zh-CN" sz="1400" dirty="0">
                <a:latin typeface="+mn-ea"/>
                <a:cs typeface=".PingFang SC"/>
              </a:rPr>
              <a:t>环境（阿里云服务</a:t>
            </a:r>
            <a:r>
              <a:rPr lang="zh-CN" altLang="zh-CN" sz="1400" dirty="0" smtClean="0">
                <a:latin typeface="+mn-ea"/>
                <a:cs typeface=".PingFang SC"/>
              </a:rPr>
              <a:t>）</a:t>
            </a:r>
            <a:r>
              <a:rPr lang="zh-CN" altLang="en-US" sz="1400" dirty="0" smtClean="0">
                <a:latin typeface="+mn-ea"/>
                <a:cs typeface=".PingFang SC"/>
              </a:rPr>
              <a:t>：</a:t>
            </a:r>
            <a:r>
              <a:rPr lang="zh-CN" altLang="zh-CN" sz="1400" dirty="0" smtClean="0">
                <a:latin typeface="+mn-ea"/>
                <a:cs typeface=".PingFang SC"/>
              </a:rPr>
              <a:t>服务器</a:t>
            </a:r>
            <a:r>
              <a:rPr lang="en-US" altLang="zh-CN" sz="1400" dirty="0">
                <a:latin typeface="+mn-ea"/>
                <a:cs typeface=".PingFang SC"/>
              </a:rPr>
              <a:t>ECS</a:t>
            </a:r>
            <a:r>
              <a:rPr lang="zh-CN" altLang="zh-CN" sz="1400" dirty="0">
                <a:latin typeface="+mn-ea"/>
                <a:cs typeface=".PingFang SC"/>
              </a:rPr>
              <a:t>，数据库</a:t>
            </a:r>
            <a:r>
              <a:rPr lang="en-US" altLang="zh-CN" sz="1400" dirty="0">
                <a:latin typeface="+mn-ea"/>
                <a:cs typeface=".PingFang SC"/>
              </a:rPr>
              <a:t>RDS</a:t>
            </a:r>
            <a:r>
              <a:rPr lang="zh-CN" altLang="zh-CN" sz="1400" dirty="0">
                <a:latin typeface="+mn-ea"/>
                <a:cs typeface=".PingFang SC"/>
              </a:rPr>
              <a:t>，</a:t>
            </a:r>
            <a:r>
              <a:rPr lang="en-US" altLang="zh-CN" sz="1400" dirty="0">
                <a:latin typeface="+mn-ea"/>
                <a:cs typeface="Times New Roman" panose="02020603050405020304" pitchFamily="18" charset="0"/>
              </a:rPr>
              <a:t>OSS</a:t>
            </a:r>
            <a:r>
              <a:rPr lang="zh-CN" altLang="zh-CN" sz="1400" dirty="0">
                <a:latin typeface="+mn-ea"/>
                <a:cs typeface=".PingFang SC"/>
              </a:rPr>
              <a:t>存储，</a:t>
            </a:r>
            <a:r>
              <a:rPr lang="en-US" altLang="zh-CN" sz="1400" dirty="0" err="1">
                <a:latin typeface="+mn-ea"/>
                <a:cs typeface="Times New Roman" panose="02020603050405020304" pitchFamily="18" charset="0"/>
              </a:rPr>
              <a:t>redis</a:t>
            </a:r>
            <a:r>
              <a:rPr lang="en-US" altLang="zh-CN" sz="1400" dirty="0">
                <a:latin typeface="+mn-ea"/>
                <a:cs typeface="Times New Roman" panose="02020603050405020304" pitchFamily="18" charset="0"/>
              </a:rPr>
              <a:t> </a:t>
            </a:r>
            <a:r>
              <a:rPr lang="zh-CN" altLang="zh-CN" sz="1400" dirty="0">
                <a:latin typeface="+mn-ea"/>
                <a:cs typeface=".PingFang SC"/>
              </a:rPr>
              <a:t>（详见后硬件规格</a:t>
            </a:r>
            <a:r>
              <a:rPr lang="en-US" altLang="zh-CN" sz="1400" dirty="0">
                <a:latin typeface="+mn-ea"/>
                <a:cs typeface=".PingFang SC"/>
              </a:rPr>
              <a:t>dev</a:t>
            </a:r>
            <a:r>
              <a:rPr lang="zh-CN" altLang="zh-CN" sz="1400" dirty="0" smtClean="0">
                <a:latin typeface="+mn-ea"/>
                <a:cs typeface=".PingFang SC"/>
              </a:rPr>
              <a:t>环境</a:t>
            </a:r>
            <a:r>
              <a:rPr lang="zh-CN" altLang="en-US" sz="1400" dirty="0" smtClean="0">
                <a:latin typeface="+mn-ea"/>
                <a:cs typeface=".PingFang SC"/>
              </a:rPr>
              <a:t>）</a:t>
            </a:r>
            <a:r>
              <a:rPr lang="zh-CN" altLang="zh-CN" sz="1400" dirty="0" smtClean="0">
                <a:latin typeface="+mn-ea"/>
                <a:cs typeface=".PingFang SC"/>
              </a:rPr>
              <a:t>对应的账号信息</a:t>
            </a:r>
            <a:endParaRPr lang="zh-CN" altLang="zh-CN" sz="1400" dirty="0" smtClean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 smtClean="0">
                <a:latin typeface="+mn-ea"/>
                <a:cs typeface=".PingFang SC"/>
              </a:rPr>
              <a:t>测试</a:t>
            </a:r>
            <a:r>
              <a:rPr lang="zh-CN" altLang="zh-CN" sz="1400" dirty="0">
                <a:latin typeface="+mn-ea"/>
                <a:cs typeface=".PingFang SC"/>
              </a:rPr>
              <a:t>环境（阿里云服务</a:t>
            </a:r>
            <a:r>
              <a:rPr lang="zh-CN" altLang="zh-CN" sz="1400" dirty="0" smtClean="0">
                <a:latin typeface="+mn-ea"/>
                <a:cs typeface=".PingFang SC"/>
              </a:rPr>
              <a:t>）</a:t>
            </a:r>
            <a:r>
              <a:rPr lang="zh-CN" altLang="en-US" sz="1400" dirty="0" smtClean="0">
                <a:latin typeface="+mn-ea"/>
                <a:cs typeface="Times New Roman" panose="02020603050405020304" pitchFamily="18" charset="0"/>
              </a:rPr>
              <a:t>：</a:t>
            </a:r>
            <a:r>
              <a:rPr lang="zh-CN" altLang="zh-CN" sz="1400" dirty="0" smtClean="0">
                <a:latin typeface="+mn-ea"/>
                <a:cs typeface=".PingFang SC"/>
              </a:rPr>
              <a:t>服务器</a:t>
            </a:r>
            <a:r>
              <a:rPr lang="en-US" altLang="zh-CN" sz="1400" dirty="0">
                <a:latin typeface="+mn-ea"/>
                <a:cs typeface=".PingFang SC"/>
              </a:rPr>
              <a:t>ECS</a:t>
            </a:r>
            <a:r>
              <a:rPr lang="zh-CN" altLang="zh-CN" sz="1400" dirty="0">
                <a:latin typeface="+mn-ea"/>
                <a:cs typeface=".PingFang SC"/>
              </a:rPr>
              <a:t>，数据库</a:t>
            </a:r>
            <a:r>
              <a:rPr lang="en-US" altLang="zh-CN" sz="1400" dirty="0">
                <a:latin typeface="+mn-ea"/>
                <a:cs typeface=".PingFang SC"/>
              </a:rPr>
              <a:t>RDS</a:t>
            </a:r>
            <a:r>
              <a:rPr lang="zh-CN" altLang="zh-CN" sz="1400" dirty="0">
                <a:latin typeface="+mn-ea"/>
                <a:cs typeface=".PingFang SC"/>
              </a:rPr>
              <a:t>，</a:t>
            </a:r>
            <a:r>
              <a:rPr lang="en-US" altLang="zh-CN" sz="1400" dirty="0">
                <a:latin typeface="+mn-ea"/>
                <a:cs typeface="Times New Roman" panose="02020603050405020304" pitchFamily="18" charset="0"/>
              </a:rPr>
              <a:t>OSS</a:t>
            </a:r>
            <a:r>
              <a:rPr lang="zh-CN" altLang="zh-CN" sz="1400" dirty="0">
                <a:latin typeface="+mn-ea"/>
                <a:cs typeface=".PingFang SC"/>
              </a:rPr>
              <a:t>存储，</a:t>
            </a:r>
            <a:r>
              <a:rPr lang="en-US" altLang="zh-CN" sz="1400" dirty="0" err="1">
                <a:latin typeface="+mn-ea"/>
                <a:cs typeface="Times New Roman" panose="02020603050405020304" pitchFamily="18" charset="0"/>
              </a:rPr>
              <a:t>redis</a:t>
            </a:r>
            <a:r>
              <a:rPr lang="en-US" altLang="zh-CN" sz="1400" dirty="0">
                <a:latin typeface="+mn-ea"/>
                <a:cs typeface="Times New Roman" panose="02020603050405020304" pitchFamily="18" charset="0"/>
              </a:rPr>
              <a:t> </a:t>
            </a:r>
            <a:r>
              <a:rPr lang="zh-CN" altLang="zh-CN" sz="1400" dirty="0">
                <a:latin typeface="+mn-ea"/>
                <a:cs typeface=".PingFang SC"/>
              </a:rPr>
              <a:t>（详见后硬件规格</a:t>
            </a:r>
            <a:r>
              <a:rPr lang="en-US" altLang="zh-CN" sz="1400" dirty="0" err="1">
                <a:latin typeface="+mn-ea"/>
                <a:cs typeface=".PingFang SC"/>
              </a:rPr>
              <a:t>uat</a:t>
            </a:r>
            <a:r>
              <a:rPr lang="zh-CN" altLang="zh-CN" sz="1400" dirty="0">
                <a:latin typeface="+mn-ea"/>
                <a:cs typeface=".PingFang SC"/>
              </a:rPr>
              <a:t>环境</a:t>
            </a:r>
            <a:r>
              <a:rPr lang="zh-CN" altLang="zh-CN" sz="1400" dirty="0" smtClean="0">
                <a:latin typeface="+mn-ea"/>
                <a:cs typeface=".PingFang SC"/>
              </a:rPr>
              <a:t>）对应</a:t>
            </a:r>
            <a:r>
              <a:rPr lang="zh-CN" altLang="zh-CN" sz="1400" dirty="0">
                <a:latin typeface="+mn-ea"/>
                <a:cs typeface=".PingFang SC"/>
              </a:rPr>
              <a:t>的账号</a:t>
            </a:r>
            <a:r>
              <a:rPr lang="zh-CN" altLang="zh-CN" sz="1400" dirty="0" smtClean="0">
                <a:latin typeface="+mn-ea"/>
                <a:cs typeface=".PingFang SC"/>
              </a:rPr>
              <a:t>信息</a:t>
            </a:r>
            <a:r>
              <a:rPr lang="zh-CN" altLang="en-US" sz="1400" dirty="0" smtClean="0">
                <a:latin typeface="+mn-ea"/>
                <a:cs typeface="Times New Roman" panose="02020603050405020304" pitchFamily="18" charset="0"/>
              </a:rPr>
              <a:t>。</a:t>
            </a:r>
            <a:r>
              <a:rPr lang="zh-CN" altLang="zh-CN" sz="1400" dirty="0" smtClean="0">
                <a:latin typeface="+mn-ea"/>
                <a:cs typeface=".PingFang SC"/>
              </a:rPr>
              <a:t>测试</a:t>
            </a:r>
            <a:r>
              <a:rPr lang="zh-CN" altLang="zh-CN" sz="1400" dirty="0">
                <a:latin typeface="+mn-ea"/>
                <a:cs typeface=".PingFang SC"/>
              </a:rPr>
              <a:t>设备，主流苹果和安卓手机</a:t>
            </a:r>
            <a:endParaRPr lang="zh-CN" altLang="zh-CN" sz="1400" dirty="0">
              <a:latin typeface="+mn-ea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altLang="zh-CN" sz="1400" dirty="0">
                <a:latin typeface="+mn-ea"/>
                <a:cs typeface="Times New Roman" panose="02020603050405020304" pitchFamily="18" charset="0"/>
              </a:rPr>
              <a:t>责任方：双方，观致提供设备和账号，易时负责环境的安装和配置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928378"/>
              </p:ext>
            </p:extLst>
          </p:nvPr>
        </p:nvGraphicFramePr>
        <p:xfrm>
          <a:off x="468313" y="3997510"/>
          <a:ext cx="8191500" cy="8366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30333">
                  <a:extLst>
                    <a:ext uri="{9D8B030D-6E8A-4147-A177-3AD203B41FA5}">
                      <a16:colId xmlns:a16="http://schemas.microsoft.com/office/drawing/2014/main" val="4021461701"/>
                    </a:ext>
                  </a:extLst>
                </a:gridCol>
                <a:gridCol w="1679960">
                  <a:extLst>
                    <a:ext uri="{9D8B030D-6E8A-4147-A177-3AD203B41FA5}">
                      <a16:colId xmlns:a16="http://schemas.microsoft.com/office/drawing/2014/main" val="1114849638"/>
                    </a:ext>
                  </a:extLst>
                </a:gridCol>
                <a:gridCol w="1204931">
                  <a:extLst>
                    <a:ext uri="{9D8B030D-6E8A-4147-A177-3AD203B41FA5}">
                      <a16:colId xmlns:a16="http://schemas.microsoft.com/office/drawing/2014/main" val="1254435760"/>
                    </a:ext>
                  </a:extLst>
                </a:gridCol>
                <a:gridCol w="1692663">
                  <a:extLst>
                    <a:ext uri="{9D8B030D-6E8A-4147-A177-3AD203B41FA5}">
                      <a16:colId xmlns:a16="http://schemas.microsoft.com/office/drawing/2014/main" val="1428262477"/>
                    </a:ext>
                  </a:extLst>
                </a:gridCol>
                <a:gridCol w="2383613">
                  <a:extLst>
                    <a:ext uri="{9D8B030D-6E8A-4147-A177-3AD203B41FA5}">
                      <a16:colId xmlns:a16="http://schemas.microsoft.com/office/drawing/2014/main" val="3395422883"/>
                    </a:ext>
                  </a:extLst>
                </a:gridCol>
              </a:tblGrid>
              <a:tr h="2880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接口名称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用途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输入参数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输出参数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期望提供日期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extLst>
                  <a:ext uri="{0D108BD9-81ED-4DB2-BD59-A6C34878D82A}">
                    <a16:rowId xmlns:a16="http://schemas.microsoft.com/office/drawing/2014/main" val="3099017273"/>
                  </a:ext>
                </a:extLst>
              </a:tr>
              <a:tr h="51845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车辆信息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用户绑定车辆信息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>
                          <a:effectLst/>
                        </a:rPr>
                        <a:t>VIN</a:t>
                      </a:r>
                      <a:r>
                        <a:rPr lang="zh-CN" sz="1200" kern="100">
                          <a:effectLst/>
                        </a:rPr>
                        <a:t>码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手机号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200" kern="100">
                          <a:effectLst/>
                        </a:rPr>
                        <a:t>符合条件的车辆信息列表【车型、车牌号、车架号、发动机号】</a:t>
                      </a:r>
                      <a:endParaRPr lang="zh-CN" sz="12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effectLst/>
                        </a:rPr>
                        <a:t>2018-03-20</a:t>
                      </a:r>
                      <a:r>
                        <a:rPr lang="zh-CN" sz="1200" kern="100" dirty="0">
                          <a:effectLst/>
                        </a:rPr>
                        <a:t>前</a:t>
                      </a:r>
                      <a:endParaRPr lang="zh-CN" sz="1200" kern="100" dirty="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47603" marR="47603" marT="0" marB="0" anchor="ctr"/>
                </a:tc>
                <a:extLst>
                  <a:ext uri="{0D108BD9-81ED-4DB2-BD59-A6C34878D82A}">
                    <a16:rowId xmlns:a16="http://schemas.microsoft.com/office/drawing/2014/main" val="1606388313"/>
                  </a:ext>
                </a:extLst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468313" y="3363838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需要提供的接口</a:t>
            </a:r>
            <a:endParaRPr lang="zh-CN" altLang="en-US" sz="1600" dirty="0"/>
          </a:p>
        </p:txBody>
      </p:sp>
      <p:sp>
        <p:nvSpPr>
          <p:cNvPr id="7" name="文本框 6"/>
          <p:cNvSpPr txBox="1"/>
          <p:nvPr/>
        </p:nvSpPr>
        <p:spPr>
          <a:xfrm>
            <a:off x="2941129" y="3491342"/>
            <a:ext cx="19092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/>
              <a:t>责任方：观致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5659190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119036"/>
              </p:ext>
            </p:extLst>
          </p:nvPr>
        </p:nvGraphicFramePr>
        <p:xfrm>
          <a:off x="468313" y="572980"/>
          <a:ext cx="7560072" cy="42307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47305">
                  <a:extLst>
                    <a:ext uri="{9D8B030D-6E8A-4147-A177-3AD203B41FA5}">
                      <a16:colId xmlns:a16="http://schemas.microsoft.com/office/drawing/2014/main" val="279901794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28297086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413937879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75847592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41122994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61125309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3312937846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450308298"/>
                    </a:ext>
                  </a:extLst>
                </a:gridCol>
                <a:gridCol w="1800199">
                  <a:extLst>
                    <a:ext uri="{9D8B030D-6E8A-4147-A177-3AD203B41FA5}">
                      <a16:colId xmlns:a16="http://schemas.microsoft.com/office/drawing/2014/main" val="2600228394"/>
                    </a:ext>
                  </a:extLst>
                </a:gridCol>
              </a:tblGrid>
              <a:tr h="3715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资源类型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环境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资源标识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配置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操作系统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网络类型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公网访问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RDS</a:t>
                      </a:r>
                      <a:r>
                        <a:rPr lang="zh-CN" sz="700" kern="100">
                          <a:effectLst/>
                        </a:rPr>
                        <a:t>需求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资源说明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882841032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EC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dev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dev-srv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4C * 16G/100G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buntu 16.04 64</a:t>
                      </a:r>
                      <a:r>
                        <a:rPr lang="zh-CN" sz="700" kern="100">
                          <a:effectLst/>
                        </a:rPr>
                        <a:t>位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开发环境的服务器</a:t>
                      </a:r>
                      <a:r>
                        <a:rPr lang="en-US" sz="700" kern="100" dirty="0">
                          <a:effectLst/>
                        </a:rPr>
                        <a:t>(</a:t>
                      </a:r>
                      <a:r>
                        <a:rPr lang="zh-CN" sz="700" kern="100" dirty="0">
                          <a:effectLst/>
                        </a:rPr>
                        <a:t>后期释放</a:t>
                      </a:r>
                      <a:r>
                        <a:rPr lang="en-US" sz="700" kern="100" dirty="0">
                          <a:effectLst/>
                        </a:rPr>
                        <a:t>)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3326880981"/>
                  </a:ext>
                </a:extLst>
              </a:tr>
              <a:tr h="3761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EC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at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uat-srv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4C * 16G/100G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buntu 16.04 64</a:t>
                      </a:r>
                      <a:r>
                        <a:rPr lang="zh-CN" sz="700" kern="100">
                          <a:effectLst/>
                        </a:rPr>
                        <a:t>位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用户测试环境的服务器</a:t>
                      </a:r>
                      <a:r>
                        <a:rPr lang="en-US" sz="700" kern="100" dirty="0">
                          <a:effectLst/>
                        </a:rPr>
                        <a:t>(</a:t>
                      </a:r>
                      <a:r>
                        <a:rPr lang="zh-CN" sz="700" kern="100" dirty="0">
                          <a:effectLst/>
                        </a:rPr>
                        <a:t>后期释放</a:t>
                      </a:r>
                      <a:r>
                        <a:rPr lang="en-US" sz="700" kern="100" dirty="0">
                          <a:effectLst/>
                        </a:rPr>
                        <a:t>)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1894902367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EC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prod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prod-srv-01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4C * 16G/100G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buntu 16.04 64</a:t>
                      </a:r>
                      <a:r>
                        <a:rPr lang="zh-CN" sz="700" kern="100">
                          <a:effectLst/>
                        </a:rPr>
                        <a:t>位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生产环境服务器集群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1419329218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EC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prod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prod-srv-02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4C * 16G/100G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buntu 16.04 64</a:t>
                      </a:r>
                      <a:r>
                        <a:rPr lang="zh-CN" sz="700" kern="100">
                          <a:effectLst/>
                        </a:rPr>
                        <a:t>位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6058303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EC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prod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prod-srv-03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4C * 16G/100G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buntu 16.04 64</a:t>
                      </a:r>
                      <a:r>
                        <a:rPr lang="zh-CN" sz="700" kern="100">
                          <a:effectLst/>
                        </a:rPr>
                        <a:t>位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是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786029"/>
                  </a:ext>
                </a:extLst>
              </a:tr>
              <a:tr h="3761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redi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dev,</a:t>
                      </a:r>
                      <a:endParaRPr lang="zh-CN" sz="700" kern="1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uat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redis-dev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2G</a:t>
                      </a:r>
                      <a:r>
                        <a:rPr lang="zh-CN" sz="700" kern="100">
                          <a:effectLst/>
                        </a:rPr>
                        <a:t>主从板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测试环境和用户测试环境缓存服务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2992828195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redi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prod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redis-prod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2G</a:t>
                      </a:r>
                      <a:r>
                        <a:rPr lang="zh-CN" sz="700" kern="100">
                          <a:effectLst/>
                        </a:rPr>
                        <a:t>主从板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生产环境缓存服务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568276195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OS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ll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os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1T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静态文件存储服务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3130447540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RD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ll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rds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4C *8G 200G</a:t>
                      </a:r>
                      <a:r>
                        <a:rPr lang="zh-CN" sz="700" kern="100">
                          <a:effectLst/>
                        </a:rPr>
                        <a:t>，</a:t>
                      </a:r>
                      <a:r>
                        <a:rPr lang="en-US" sz="700" kern="100">
                          <a:effectLst/>
                        </a:rPr>
                        <a:t>MYSQL5.6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VPC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关系型数据库</a:t>
                      </a:r>
                      <a:r>
                        <a:rPr lang="en-US" sz="700" kern="100" dirty="0">
                          <a:effectLst/>
                        </a:rPr>
                        <a:t>(</a:t>
                      </a:r>
                      <a:r>
                        <a:rPr lang="zh-CN" sz="700" kern="100" dirty="0">
                          <a:effectLst/>
                        </a:rPr>
                        <a:t>数据存储</a:t>
                      </a:r>
                      <a:r>
                        <a:rPr lang="en-US" sz="700" kern="100" dirty="0">
                          <a:effectLst/>
                        </a:rPr>
                        <a:t>)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3531721074"/>
                  </a:ext>
                </a:extLst>
              </a:tr>
              <a:tr h="3761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SLB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ll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qoros-app-slb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高阶</a:t>
                      </a:r>
                      <a:r>
                        <a:rPr lang="en-US" sz="700" kern="100">
                          <a:effectLst/>
                        </a:rPr>
                        <a:t>II</a:t>
                      </a:r>
                      <a:r>
                        <a:rPr lang="zh-CN" sz="700" kern="100">
                          <a:effectLst/>
                        </a:rPr>
                        <a:t>型，</a:t>
                      </a:r>
                      <a:r>
                        <a:rPr lang="en-US" sz="700" kern="100">
                          <a:effectLst/>
                        </a:rPr>
                        <a:t>20M</a:t>
                      </a:r>
                      <a:r>
                        <a:rPr lang="zh-CN" sz="700" kern="100">
                          <a:effectLst/>
                        </a:rPr>
                        <a:t>带宽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生产服务器统一入口流量转发</a:t>
                      </a:r>
                      <a:r>
                        <a:rPr lang="en-US" sz="700" kern="100" dirty="0">
                          <a:effectLst/>
                        </a:rPr>
                        <a:t>(</a:t>
                      </a:r>
                      <a:r>
                        <a:rPr lang="zh-CN" sz="700" kern="100" dirty="0">
                          <a:effectLst/>
                        </a:rPr>
                        <a:t>虚拟</a:t>
                      </a:r>
                      <a:r>
                        <a:rPr lang="en-US" sz="700" kern="100" dirty="0">
                          <a:effectLst/>
                        </a:rPr>
                        <a:t>IP)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2359315563"/>
                  </a:ext>
                </a:extLst>
              </a:tr>
              <a:tr h="1741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SSL</a:t>
                      </a:r>
                      <a:r>
                        <a:rPr lang="zh-CN" sz="700" kern="100">
                          <a:effectLst/>
                        </a:rPr>
                        <a:t>证书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ll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数据安全传输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4294089725"/>
                  </a:ext>
                </a:extLst>
              </a:tr>
              <a:tr h="1741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SVN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ll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观致标准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源代码管理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552446508"/>
                  </a:ext>
                </a:extLst>
              </a:tr>
              <a:tr h="3761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pple developer account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prod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endParaRPr lang="zh-CN" sz="1000" kern="100">
                        <a:effectLst/>
                        <a:latin typeface="等线" panose="02010600030101010101" pitchFamily="2" charset="-122"/>
                        <a:ea typeface="等线" panose="02010600030101010101" pitchFamily="2" charset="-122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700" kern="100" dirty="0" err="1">
                          <a:effectLst/>
                        </a:rPr>
                        <a:t>Ios</a:t>
                      </a:r>
                      <a:r>
                        <a:rPr lang="en-US" sz="700" kern="100" dirty="0">
                          <a:effectLst/>
                        </a:rPr>
                        <a:t> App</a:t>
                      </a:r>
                      <a:r>
                        <a:rPr lang="zh-CN" sz="700" kern="100" dirty="0">
                          <a:effectLst/>
                        </a:rPr>
                        <a:t>客户端发布时需要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1019142710"/>
                  </a:ext>
                </a:extLst>
              </a:tr>
              <a:tr h="2507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CN" sz="700" kern="100">
                          <a:effectLst/>
                        </a:rPr>
                        <a:t>短信网关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all 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 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 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 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 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 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700" kern="100">
                          <a:effectLst/>
                        </a:rPr>
                        <a:t> </a:t>
                      </a:r>
                      <a:endParaRPr lang="zh-CN" sz="700" kern="10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700" kern="100" dirty="0">
                          <a:effectLst/>
                        </a:rPr>
                        <a:t>用户注册验证及短信发送</a:t>
                      </a:r>
                      <a:endParaRPr lang="zh-CN" sz="700" kern="100" dirty="0">
                        <a:solidFill>
                          <a:srgbClr val="454545"/>
                        </a:solidFill>
                        <a:effectLst/>
                        <a:latin typeface="Helvetica Neue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2695" marR="62695" marT="0" marB="0" anchor="ctr"/>
                </a:tc>
                <a:extLst>
                  <a:ext uri="{0D108BD9-81ED-4DB2-BD59-A6C34878D82A}">
                    <a16:rowId xmlns:a16="http://schemas.microsoft.com/office/drawing/2014/main" val="4225828437"/>
                  </a:ext>
                </a:extLst>
              </a:tr>
            </a:tbl>
          </a:graphicData>
        </a:graphic>
      </p:graphicFrame>
      <p:sp>
        <p:nvSpPr>
          <p:cNvPr id="5" name="标题 1"/>
          <p:cNvSpPr>
            <a:spLocks noGrp="1"/>
          </p:cNvSpPr>
          <p:nvPr>
            <p:ph type="ctrTitle"/>
          </p:nvPr>
        </p:nvSpPr>
        <p:spPr>
          <a:xfrm>
            <a:off x="468313" y="158750"/>
            <a:ext cx="8191500" cy="396875"/>
          </a:xfrm>
        </p:spPr>
        <p:txBody>
          <a:bodyPr/>
          <a:lstStyle/>
          <a:p>
            <a:r>
              <a:rPr lang="en-US" altLang="zh-CN" dirty="0" smtClean="0"/>
              <a:t>4.3 </a:t>
            </a:r>
            <a:r>
              <a:rPr lang="zh-CN" altLang="en-US" dirty="0" smtClean="0"/>
              <a:t>硬件规格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67832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3075" y="296863"/>
            <a:ext cx="7304088" cy="400110"/>
          </a:xfrm>
        </p:spPr>
        <p:txBody>
          <a:bodyPr/>
          <a:lstStyle/>
          <a:p>
            <a:r>
              <a:rPr lang="zh-CN" altLang="en-US" dirty="0" smtClean="0">
                <a:latin typeface="+mj-ea"/>
                <a:ea typeface="+mj-ea"/>
              </a:rPr>
              <a:t>目  录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38" name="iṧḻídé">
            <a:extLst>
              <a:ext uri="{FF2B5EF4-FFF2-40B4-BE49-F238E27FC236}">
                <a16:creationId xmlns:a16="http://schemas.microsoft.com/office/drawing/2014/main" id="{7AA54ED0-5CAD-49A9-8632-C6AEE58908DD}"/>
              </a:ext>
            </a:extLst>
          </p:cNvPr>
          <p:cNvSpPr/>
          <p:nvPr/>
        </p:nvSpPr>
        <p:spPr>
          <a:xfrm>
            <a:off x="361799" y="3441034"/>
            <a:ext cx="2201268" cy="9874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8751" y="0"/>
                </a:lnTo>
                <a:lnTo>
                  <a:pt x="0" y="21600"/>
                </a:lnTo>
                <a:lnTo>
                  <a:pt x="14029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>
              <a:alpha val="93405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sz="1350"/>
          </a:p>
        </p:txBody>
      </p:sp>
      <p:sp>
        <p:nvSpPr>
          <p:cNvPr id="67" name="ïśļiďe">
            <a:extLst>
              <a:ext uri="{FF2B5EF4-FFF2-40B4-BE49-F238E27FC236}">
                <a16:creationId xmlns:a16="http://schemas.microsoft.com/office/drawing/2014/main" id="{382FF65D-8B32-43F1-9C8A-C12A7E9D5352}"/>
              </a:ext>
            </a:extLst>
          </p:cNvPr>
          <p:cNvSpPr/>
          <p:nvPr/>
        </p:nvSpPr>
        <p:spPr>
          <a:xfrm>
            <a:off x="1797234" y="2981435"/>
            <a:ext cx="2212189" cy="13144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865" y="21600"/>
                </a:moveTo>
                <a:cubicBezTo>
                  <a:pt x="15986" y="21600"/>
                  <a:pt x="16105" y="21513"/>
                  <a:pt x="16210" y="21347"/>
                </a:cubicBezTo>
                <a:lnTo>
                  <a:pt x="21600" y="10793"/>
                </a:lnTo>
                <a:lnTo>
                  <a:pt x="16208" y="237"/>
                </a:lnTo>
                <a:cubicBezTo>
                  <a:pt x="16110" y="83"/>
                  <a:pt x="15996" y="0"/>
                  <a:pt x="15880" y="0"/>
                </a:cubicBezTo>
                <a:cubicBezTo>
                  <a:pt x="15616" y="0"/>
                  <a:pt x="15391" y="416"/>
                  <a:pt x="15377" y="920"/>
                </a:cubicBezTo>
                <a:lnTo>
                  <a:pt x="15382" y="3373"/>
                </a:lnTo>
                <a:lnTo>
                  <a:pt x="10620" y="3373"/>
                </a:lnTo>
                <a:cubicBezTo>
                  <a:pt x="10261" y="3372"/>
                  <a:pt x="9818" y="3433"/>
                  <a:pt x="9416" y="3585"/>
                </a:cubicBezTo>
                <a:cubicBezTo>
                  <a:pt x="9014" y="3737"/>
                  <a:pt x="8652" y="3981"/>
                  <a:pt x="8455" y="4347"/>
                </a:cubicBezTo>
                <a:cubicBezTo>
                  <a:pt x="8387" y="4483"/>
                  <a:pt x="834" y="18287"/>
                  <a:pt x="517" y="19016"/>
                </a:cubicBezTo>
                <a:cubicBezTo>
                  <a:pt x="224" y="19690"/>
                  <a:pt x="48" y="20667"/>
                  <a:pt x="0" y="21293"/>
                </a:cubicBezTo>
                <a:cubicBezTo>
                  <a:pt x="181" y="20284"/>
                  <a:pt x="554" y="19528"/>
                  <a:pt x="1048" y="19024"/>
                </a:cubicBezTo>
                <a:cubicBezTo>
                  <a:pt x="1541" y="18521"/>
                  <a:pt x="2154" y="18269"/>
                  <a:pt x="2814" y="18269"/>
                </a:cubicBezTo>
                <a:lnTo>
                  <a:pt x="15383" y="18257"/>
                </a:lnTo>
                <a:lnTo>
                  <a:pt x="15377" y="20664"/>
                </a:lnTo>
                <a:cubicBezTo>
                  <a:pt x="15390" y="21192"/>
                  <a:pt x="15600" y="21600"/>
                  <a:pt x="15865" y="21600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sz="1350"/>
          </a:p>
        </p:txBody>
      </p:sp>
      <p:sp>
        <p:nvSpPr>
          <p:cNvPr id="3" name="文本框 2"/>
          <p:cNvSpPr txBox="1"/>
          <p:nvPr/>
        </p:nvSpPr>
        <p:spPr>
          <a:xfrm>
            <a:off x="539552" y="1131590"/>
            <a:ext cx="66247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zh-CN" altLang="en-US" dirty="0" smtClean="0"/>
              <a:t>项目背景</a:t>
            </a:r>
            <a:endParaRPr lang="en-US" altLang="zh-CN" dirty="0" smtClean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zh-CN" altLang="en-US" dirty="0" smtClean="0"/>
              <a:t>项目价值</a:t>
            </a:r>
            <a:endParaRPr lang="en-US" altLang="zh-CN" dirty="0" smtClean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zh-CN" altLang="en-US" dirty="0" smtClean="0"/>
              <a:t>项目计划</a:t>
            </a:r>
            <a:endParaRPr lang="en-US" altLang="zh-CN" dirty="0" smtClean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zh-CN" altLang="en-US" dirty="0" smtClean="0"/>
              <a:t>待准备事项</a:t>
            </a:r>
            <a:endParaRPr lang="en-US" altLang="zh-CN" dirty="0" smtClean="0"/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zh-CN" altLang="en-US" dirty="0" smtClean="0"/>
              <a:t>项目变更管理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53394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6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3075" y="296863"/>
            <a:ext cx="7304088" cy="400110"/>
          </a:xfrm>
        </p:spPr>
        <p:txBody>
          <a:bodyPr/>
          <a:lstStyle/>
          <a:p>
            <a:r>
              <a:rPr lang="en-US" altLang="zh-CN" dirty="0" smtClean="0"/>
              <a:t>5  </a:t>
            </a:r>
            <a:r>
              <a:rPr lang="zh-CN" altLang="en-US" dirty="0" smtClean="0"/>
              <a:t>项目变更管理程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987574"/>
            <a:ext cx="7286432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72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564232" y="1851444"/>
            <a:ext cx="2988902" cy="648852"/>
          </a:xfrm>
        </p:spPr>
        <p:txBody>
          <a:bodyPr>
            <a:normAutofit/>
          </a:bodyPr>
          <a:lstStyle/>
          <a:p>
            <a:r>
              <a:rPr lang="en-US" altLang="zh-CN" dirty="0" smtClean="0">
                <a:solidFill>
                  <a:schemeClr val="tx2"/>
                </a:solidFill>
              </a:rPr>
              <a:t>Thanks</a:t>
            </a:r>
            <a:r>
              <a:rPr lang="zh-CN" altLang="en-US" dirty="0">
                <a:solidFill>
                  <a:schemeClr val="tx2"/>
                </a:solidFill>
              </a:rPr>
              <a:t>！</a:t>
            </a:r>
            <a:endParaRPr lang="zh-CN" altLang="en-US" b="0" dirty="0">
              <a:solidFill>
                <a:schemeClr val="tx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4294967295"/>
          </p:nvPr>
        </p:nvSpPr>
        <p:spPr>
          <a:xfrm>
            <a:off x="3564232" y="2765988"/>
            <a:ext cx="2988902" cy="23315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zh-CN" alt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浙江易时科技股份有限公司</a:t>
            </a:r>
            <a:endParaRPr lang="en-US" altLang="zh-CN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4860C710-3350-4AE9-B939-016A992F7A48}"/>
              </a:ext>
            </a:extLst>
          </p:cNvPr>
          <p:cNvCxnSpPr>
            <a:cxnSpLocks/>
          </p:cNvCxnSpPr>
          <p:nvPr/>
        </p:nvCxnSpPr>
        <p:spPr>
          <a:xfrm>
            <a:off x="3390234" y="1901919"/>
            <a:ext cx="0" cy="1261095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1614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9106446"/>
              </p:ext>
            </p:extLst>
          </p:nvPr>
        </p:nvGraphicFramePr>
        <p:xfrm>
          <a:off x="2051720" y="2077988"/>
          <a:ext cx="914400" cy="82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4" name="文档" showAsIcon="1" r:id="rId3" imgW="914400" imgH="828720" progId="Word.Document.12">
                  <p:embed/>
                </p:oleObj>
              </mc:Choice>
              <mc:Fallback>
                <p:oleObj name="文档" showAsIcon="1" r:id="rId3" imgW="914400" imgH="82872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51720" y="2077988"/>
                        <a:ext cx="914400" cy="828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对象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819791"/>
              </p:ext>
            </p:extLst>
          </p:nvPr>
        </p:nvGraphicFramePr>
        <p:xfrm>
          <a:off x="4211960" y="2086372"/>
          <a:ext cx="914400" cy="82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5" name="文档" showAsIcon="1" r:id="rId5" imgW="914400" imgH="828720" progId="Word.Document.12">
                  <p:embed/>
                </p:oleObj>
              </mc:Choice>
              <mc:Fallback>
                <p:oleObj name="文档" showAsIcon="1" r:id="rId5" imgW="914400" imgH="82872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211960" y="2086372"/>
                        <a:ext cx="914400" cy="828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标题 1"/>
          <p:cNvSpPr txBox="1">
            <a:spLocks/>
          </p:cNvSpPr>
          <p:nvPr/>
        </p:nvSpPr>
        <p:spPr bwMode="gray">
          <a:xfrm>
            <a:off x="473075" y="296863"/>
            <a:ext cx="73040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600" b="1" kern="120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2pPr>
            <a:lvl3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3pPr>
            <a:lvl4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4pPr>
            <a:lvl5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9pPr>
          </a:lstStyle>
          <a:p>
            <a:r>
              <a:rPr lang="zh-CN" altLang="en-US" dirty="0" smtClean="0"/>
              <a:t>附件：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57381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3075" y="296863"/>
            <a:ext cx="7304088" cy="400110"/>
          </a:xfrm>
        </p:spPr>
        <p:txBody>
          <a:bodyPr/>
          <a:lstStyle/>
          <a:p>
            <a:r>
              <a:rPr lang="en-US" altLang="zh-CN" dirty="0" smtClean="0">
                <a:latin typeface="+mj-ea"/>
                <a:ea typeface="+mj-ea"/>
              </a:rPr>
              <a:t>1</a:t>
            </a:r>
            <a:r>
              <a:rPr lang="zh-CN" altLang="en-US" dirty="0" smtClean="0">
                <a:latin typeface="+mj-ea"/>
                <a:ea typeface="+mj-ea"/>
              </a:rPr>
              <a:t> 项目背景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38" name="iṧḻídé">
            <a:extLst>
              <a:ext uri="{FF2B5EF4-FFF2-40B4-BE49-F238E27FC236}">
                <a16:creationId xmlns:a16="http://schemas.microsoft.com/office/drawing/2014/main" id="{7AA54ED0-5CAD-49A9-8632-C6AEE58908DD}"/>
              </a:ext>
            </a:extLst>
          </p:cNvPr>
          <p:cNvSpPr/>
          <p:nvPr/>
        </p:nvSpPr>
        <p:spPr>
          <a:xfrm>
            <a:off x="361799" y="3441034"/>
            <a:ext cx="2201268" cy="9874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8751" y="0"/>
                </a:lnTo>
                <a:lnTo>
                  <a:pt x="0" y="21600"/>
                </a:lnTo>
                <a:lnTo>
                  <a:pt x="14029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>
              <a:alpha val="93405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sz="1350"/>
          </a:p>
        </p:txBody>
      </p:sp>
      <p:sp>
        <p:nvSpPr>
          <p:cNvPr id="67" name="ïśļiďe">
            <a:extLst>
              <a:ext uri="{FF2B5EF4-FFF2-40B4-BE49-F238E27FC236}">
                <a16:creationId xmlns:a16="http://schemas.microsoft.com/office/drawing/2014/main" id="{382FF65D-8B32-43F1-9C8A-C12A7E9D5352}"/>
              </a:ext>
            </a:extLst>
          </p:cNvPr>
          <p:cNvSpPr/>
          <p:nvPr/>
        </p:nvSpPr>
        <p:spPr>
          <a:xfrm>
            <a:off x="1797234" y="2981435"/>
            <a:ext cx="2212189" cy="13144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865" y="21600"/>
                </a:moveTo>
                <a:cubicBezTo>
                  <a:pt x="15986" y="21600"/>
                  <a:pt x="16105" y="21513"/>
                  <a:pt x="16210" y="21347"/>
                </a:cubicBezTo>
                <a:lnTo>
                  <a:pt x="21600" y="10793"/>
                </a:lnTo>
                <a:lnTo>
                  <a:pt x="16208" y="237"/>
                </a:lnTo>
                <a:cubicBezTo>
                  <a:pt x="16110" y="83"/>
                  <a:pt x="15996" y="0"/>
                  <a:pt x="15880" y="0"/>
                </a:cubicBezTo>
                <a:cubicBezTo>
                  <a:pt x="15616" y="0"/>
                  <a:pt x="15391" y="416"/>
                  <a:pt x="15377" y="920"/>
                </a:cubicBezTo>
                <a:lnTo>
                  <a:pt x="15382" y="3373"/>
                </a:lnTo>
                <a:lnTo>
                  <a:pt x="10620" y="3373"/>
                </a:lnTo>
                <a:cubicBezTo>
                  <a:pt x="10261" y="3372"/>
                  <a:pt x="9818" y="3433"/>
                  <a:pt x="9416" y="3585"/>
                </a:cubicBezTo>
                <a:cubicBezTo>
                  <a:pt x="9014" y="3737"/>
                  <a:pt x="8652" y="3981"/>
                  <a:pt x="8455" y="4347"/>
                </a:cubicBezTo>
                <a:cubicBezTo>
                  <a:pt x="8387" y="4483"/>
                  <a:pt x="834" y="18287"/>
                  <a:pt x="517" y="19016"/>
                </a:cubicBezTo>
                <a:cubicBezTo>
                  <a:pt x="224" y="19690"/>
                  <a:pt x="48" y="20667"/>
                  <a:pt x="0" y="21293"/>
                </a:cubicBezTo>
                <a:cubicBezTo>
                  <a:pt x="181" y="20284"/>
                  <a:pt x="554" y="19528"/>
                  <a:pt x="1048" y="19024"/>
                </a:cubicBezTo>
                <a:cubicBezTo>
                  <a:pt x="1541" y="18521"/>
                  <a:pt x="2154" y="18269"/>
                  <a:pt x="2814" y="18269"/>
                </a:cubicBezTo>
                <a:lnTo>
                  <a:pt x="15383" y="18257"/>
                </a:lnTo>
                <a:lnTo>
                  <a:pt x="15377" y="20664"/>
                </a:lnTo>
                <a:cubicBezTo>
                  <a:pt x="15390" y="21192"/>
                  <a:pt x="15600" y="21600"/>
                  <a:pt x="15865" y="21600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sz="1350"/>
          </a:p>
        </p:txBody>
      </p:sp>
      <p:sp>
        <p:nvSpPr>
          <p:cNvPr id="5" name="矩形 4"/>
          <p:cNvSpPr/>
          <p:nvPr/>
        </p:nvSpPr>
        <p:spPr>
          <a:xfrm>
            <a:off x="361799" y="1255205"/>
            <a:ext cx="832023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600" dirty="0" smtClean="0"/>
              <a:t>目前观致可以</a:t>
            </a:r>
            <a:r>
              <a:rPr lang="zh-CN" altLang="en-US" sz="1600" dirty="0"/>
              <a:t>直接面向用户的平台仅有官网、官方微信、官方微博。而经过行业对标，其他车企均有自己品牌的</a:t>
            </a:r>
            <a:r>
              <a:rPr lang="en-US" altLang="zh-CN" sz="1600" dirty="0"/>
              <a:t>APP</a:t>
            </a:r>
            <a:r>
              <a:rPr lang="zh-CN" altLang="en-US" sz="1600" dirty="0"/>
              <a:t>，并将其成为</a:t>
            </a:r>
            <a:r>
              <a:rPr lang="zh-CN" altLang="en-US" sz="1600" b="1" dirty="0"/>
              <a:t>营销推广、车主服务、用户关怀以及塑造品牌特性的首选方式</a:t>
            </a:r>
            <a:r>
              <a:rPr lang="zh-CN" altLang="en-US" sz="1600" dirty="0"/>
              <a:t>，从行业的发展趋势看企业</a:t>
            </a:r>
            <a:r>
              <a:rPr lang="en-US" altLang="zh-CN" sz="1600" dirty="0"/>
              <a:t>APP</a:t>
            </a:r>
            <a:r>
              <a:rPr lang="zh-CN" altLang="en-US" sz="1600" dirty="0"/>
              <a:t>将承载更多的功能及意义</a:t>
            </a:r>
            <a:r>
              <a:rPr lang="zh-CN" altLang="en-US" sz="1600" dirty="0" smtClean="0"/>
              <a:t>。</a:t>
            </a:r>
            <a:endParaRPr lang="en-US" altLang="zh-CN" sz="16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600" dirty="0" smtClean="0"/>
              <a:t>基于观致及</a:t>
            </a:r>
            <a:r>
              <a:rPr lang="zh-CN" altLang="en-US" sz="1600" dirty="0"/>
              <a:t>行业现状，我们计划打造观致汽车官方</a:t>
            </a:r>
            <a:r>
              <a:rPr lang="en-US" altLang="zh-CN" sz="1600" dirty="0"/>
              <a:t>APP</a:t>
            </a:r>
            <a:r>
              <a:rPr lang="zh-CN" altLang="en-US" sz="1600" dirty="0"/>
              <a:t>平台，建立观致汽车与终端用户之间的纽带，完善用户运营渠道，加强用户维系能力，</a:t>
            </a:r>
            <a:r>
              <a:rPr lang="zh-CN" altLang="en-US" sz="1600" b="1" dirty="0"/>
              <a:t>观致汽车</a:t>
            </a:r>
            <a:r>
              <a:rPr lang="en-US" altLang="zh-CN" sz="1600" b="1" dirty="0"/>
              <a:t>APP</a:t>
            </a:r>
            <a:r>
              <a:rPr lang="zh-CN" altLang="en-US" sz="1600" b="1" dirty="0"/>
              <a:t>平台将是集产品销售、品牌建设、新品发布、广告营销于一体的平台</a:t>
            </a:r>
            <a:r>
              <a:rPr lang="zh-CN" altLang="en-US" sz="1600" dirty="0"/>
              <a:t>，并且可以通过其对客户洞察、识别、互动、营销、服务、关怀等。</a:t>
            </a:r>
          </a:p>
        </p:txBody>
      </p:sp>
    </p:spTree>
    <p:extLst>
      <p:ext uri="{BB962C8B-B14F-4D97-AF65-F5344CB8AC3E}">
        <p14:creationId xmlns:p14="http://schemas.microsoft.com/office/powerpoint/2010/main" val="1695704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6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313" y="155128"/>
            <a:ext cx="7304088" cy="400110"/>
          </a:xfrm>
        </p:spPr>
        <p:txBody>
          <a:bodyPr/>
          <a:lstStyle/>
          <a:p>
            <a:r>
              <a:rPr lang="en-US" altLang="zh-CN" dirty="0" smtClean="0">
                <a:latin typeface="+mj-ea"/>
                <a:ea typeface="+mj-ea"/>
              </a:rPr>
              <a:t>2.1 </a:t>
            </a:r>
            <a:r>
              <a:rPr lang="zh-CN" altLang="en-US" dirty="0" smtClean="0">
                <a:latin typeface="+mj-ea"/>
                <a:ea typeface="+mj-ea"/>
              </a:rPr>
              <a:t> 项目</a:t>
            </a:r>
            <a:r>
              <a:rPr lang="zh-CN" altLang="en-US" dirty="0">
                <a:latin typeface="+mj-ea"/>
                <a:ea typeface="+mj-ea"/>
              </a:rPr>
              <a:t>价值</a:t>
            </a:r>
            <a:r>
              <a:rPr lang="en-US" altLang="zh-CN" dirty="0" smtClean="0">
                <a:latin typeface="+mj-ea"/>
                <a:ea typeface="+mj-ea"/>
              </a:rPr>
              <a:t> - </a:t>
            </a:r>
            <a:r>
              <a:rPr lang="zh-CN" altLang="en-US" dirty="0" smtClean="0">
                <a:latin typeface="+mj-ea"/>
                <a:ea typeface="+mj-ea"/>
              </a:rPr>
              <a:t>业务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Picture 4" descr="http://www.qoros.com/images/products/cf14k_gallery_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742" y="2983943"/>
            <a:ext cx="1848826" cy="106307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12030bb2-35dc-49b5-b248-f821276e72d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2183781" y="1213941"/>
            <a:ext cx="4692475" cy="3684430"/>
            <a:chOff x="2828491" y="974922"/>
            <a:chExt cx="6475648" cy="5084541"/>
          </a:xfrm>
        </p:grpSpPr>
        <p:sp>
          <p:nvSpPr>
            <p:cNvPr id="8" name="íŝḷïḍé"/>
            <p:cNvSpPr/>
            <p:nvPr/>
          </p:nvSpPr>
          <p:spPr>
            <a:xfrm>
              <a:off x="4861843" y="3215666"/>
              <a:ext cx="2582437" cy="2582436"/>
            </a:xfrm>
            <a:prstGeom prst="ellipse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" name="îşḻíḋé"/>
            <p:cNvSpPr>
              <a:spLocks noChangeAspect="1"/>
            </p:cNvSpPr>
            <p:nvPr/>
          </p:nvSpPr>
          <p:spPr>
            <a:xfrm rot="13976589">
              <a:off x="6926982" y="3493627"/>
              <a:ext cx="2361145" cy="2361144"/>
            </a:xfrm>
            <a:prstGeom prst="teardrop">
              <a:avLst/>
            </a:prstGeom>
            <a:solidFill>
              <a:srgbClr val="7400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0" name="îṩḷíḍé"/>
            <p:cNvSpPr>
              <a:spLocks noChangeAspect="1"/>
            </p:cNvSpPr>
            <p:nvPr/>
          </p:nvSpPr>
          <p:spPr>
            <a:xfrm rot="7461556" flipH="1">
              <a:off x="2903872" y="3506884"/>
              <a:ext cx="2361145" cy="2361144"/>
            </a:xfrm>
            <a:prstGeom prst="teardrop">
              <a:avLst/>
            </a:prstGeom>
            <a:solidFill>
              <a:srgbClr val="74003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1" name="ïs1ïďê"/>
            <p:cNvSpPr>
              <a:spLocks noChangeAspect="1"/>
            </p:cNvSpPr>
            <p:nvPr/>
          </p:nvSpPr>
          <p:spPr>
            <a:xfrm rot="8068996">
              <a:off x="4915427" y="1056393"/>
              <a:ext cx="2361145" cy="2361144"/>
            </a:xfrm>
            <a:prstGeom prst="teardrop">
              <a:avLst/>
            </a:prstGeom>
            <a:solidFill>
              <a:srgbClr val="7400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13" name="íṡ1îḋé"/>
            <p:cNvGrpSpPr/>
            <p:nvPr/>
          </p:nvGrpSpPr>
          <p:grpSpPr>
            <a:xfrm>
              <a:off x="5015661" y="1730584"/>
              <a:ext cx="2160673" cy="1472731"/>
              <a:chOff x="5015662" y="1730583"/>
              <a:chExt cx="2160672" cy="1472731"/>
            </a:xfrm>
          </p:grpSpPr>
          <p:sp>
            <p:nvSpPr>
              <p:cNvPr id="28" name="ïŝḷiḑê"/>
              <p:cNvSpPr txBox="1"/>
              <p:nvPr/>
            </p:nvSpPr>
            <p:spPr>
              <a:xfrm>
                <a:off x="5015662" y="2074665"/>
                <a:ext cx="2160672" cy="112864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917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000" dirty="0" smtClean="0">
                    <a:solidFill>
                      <a:schemeClr val="bg1"/>
                    </a:solidFill>
                  </a:rPr>
                  <a:t>向潜在客户与车主宣传观致品牌，并通过提升消费者参与率，促进销售</a:t>
                </a:r>
                <a:endParaRPr lang="en-US" altLang="zh-CN" sz="10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iŝ1íde"/>
              <p:cNvSpPr/>
              <p:nvPr/>
            </p:nvSpPr>
            <p:spPr>
              <a:xfrm>
                <a:off x="5453737" y="1730583"/>
                <a:ext cx="1231107" cy="246221"/>
              </a:xfrm>
              <a:prstGeom prst="rect">
                <a:avLst/>
              </a:prstGeom>
            </p:spPr>
            <p:txBody>
              <a:bodyPr wrap="none" lIns="0" tIns="0" rIns="0" bIns="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b="1" dirty="0" smtClean="0">
                    <a:solidFill>
                      <a:schemeClr val="bg1"/>
                    </a:solidFill>
                  </a:rPr>
                  <a:t>品牌宣传与销售促进</a:t>
                </a:r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" name="íśḷîḑe"/>
            <p:cNvGrpSpPr/>
            <p:nvPr/>
          </p:nvGrpSpPr>
          <p:grpSpPr>
            <a:xfrm>
              <a:off x="7052979" y="4262781"/>
              <a:ext cx="2160673" cy="841021"/>
              <a:chOff x="7052979" y="4262780"/>
              <a:chExt cx="2160672" cy="841020"/>
            </a:xfrm>
          </p:grpSpPr>
          <p:sp>
            <p:nvSpPr>
              <p:cNvPr id="26" name="işḷíďê"/>
              <p:cNvSpPr txBox="1"/>
              <p:nvPr/>
            </p:nvSpPr>
            <p:spPr>
              <a:xfrm>
                <a:off x="7052979" y="4595969"/>
                <a:ext cx="2160672" cy="50783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917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000" dirty="0" smtClean="0">
                    <a:solidFill>
                      <a:schemeClr val="bg1"/>
                    </a:solidFill>
                    <a:latin typeface="+mn-ea"/>
                  </a:rPr>
                  <a:t>与车联网应用打通，通过车联网应用与品牌</a:t>
                </a:r>
                <a:r>
                  <a:rPr lang="en-US" altLang="zh-CN" sz="1000" dirty="0" smtClean="0">
                    <a:solidFill>
                      <a:schemeClr val="bg1"/>
                    </a:solidFill>
                    <a:latin typeface="+mn-ea"/>
                  </a:rPr>
                  <a:t>APP</a:t>
                </a:r>
                <a:r>
                  <a:rPr lang="zh-CN" altLang="en-US" sz="1000" dirty="0" smtClean="0">
                    <a:solidFill>
                      <a:schemeClr val="bg1"/>
                    </a:solidFill>
                    <a:latin typeface="+mn-ea"/>
                  </a:rPr>
                  <a:t>对接，提升消费者跨渠道的体验</a:t>
                </a:r>
                <a:endParaRPr lang="zh-CN" altLang="en-US" sz="10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27" name="íŝlíḑê"/>
              <p:cNvSpPr/>
              <p:nvPr/>
            </p:nvSpPr>
            <p:spPr>
              <a:xfrm>
                <a:off x="7447933" y="4262780"/>
                <a:ext cx="1231107" cy="246221"/>
              </a:xfrm>
              <a:prstGeom prst="rect">
                <a:avLst/>
              </a:prstGeom>
            </p:spPr>
            <p:txBody>
              <a:bodyPr wrap="none" lIns="0" tIns="0" rIns="0" bIns="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b="1" dirty="0" smtClean="0">
                    <a:solidFill>
                      <a:schemeClr val="bg1"/>
                    </a:solidFill>
                  </a:rPr>
                  <a:t>智能互联互通</a:t>
                </a:r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ïṧľïḍe"/>
            <p:cNvGrpSpPr/>
            <p:nvPr/>
          </p:nvGrpSpPr>
          <p:grpSpPr>
            <a:xfrm>
              <a:off x="3051555" y="4285692"/>
              <a:ext cx="2160673" cy="894450"/>
              <a:chOff x="3051556" y="4285692"/>
              <a:chExt cx="2160672" cy="894449"/>
            </a:xfrm>
          </p:grpSpPr>
          <p:sp>
            <p:nvSpPr>
              <p:cNvPr id="24" name="îŝľîdé"/>
              <p:cNvSpPr txBox="1"/>
              <p:nvPr/>
            </p:nvSpPr>
            <p:spPr>
              <a:xfrm>
                <a:off x="3051556" y="4672310"/>
                <a:ext cx="2160672" cy="50783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21917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000" dirty="0" smtClean="0">
                    <a:solidFill>
                      <a:schemeClr val="bg1"/>
                    </a:solidFill>
                  </a:rPr>
                  <a:t>通过会员及忠诚度营销，提升观致品牌在市场的声量及影响力</a:t>
                </a:r>
                <a:endParaRPr lang="zh-CN" altLang="en-US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îṩḷïḋé"/>
              <p:cNvSpPr/>
              <p:nvPr/>
            </p:nvSpPr>
            <p:spPr>
              <a:xfrm>
                <a:off x="3414342" y="4285692"/>
                <a:ext cx="1479094" cy="228024"/>
              </a:xfrm>
              <a:prstGeom prst="rect">
                <a:avLst/>
              </a:prstGeom>
            </p:spPr>
            <p:txBody>
              <a:bodyPr wrap="none" lIns="0" tIns="0" rIns="0" bIns="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b="1" dirty="0" smtClean="0">
                    <a:solidFill>
                      <a:schemeClr val="bg1"/>
                    </a:solidFill>
                  </a:rPr>
                  <a:t>会员与忠诚度营销</a:t>
                </a:r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" name="iṡľiḍé"/>
            <p:cNvSpPr/>
            <p:nvPr/>
          </p:nvSpPr>
          <p:spPr>
            <a:xfrm>
              <a:off x="5475456" y="4989062"/>
              <a:ext cx="1231106" cy="246221"/>
            </a:xfrm>
            <a:prstGeom prst="rect">
              <a:avLst/>
            </a:prstGeom>
          </p:spPr>
          <p:txBody>
            <a:bodyPr wrap="none" lIns="0" tIns="0" rIns="0" bIns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观致品牌</a:t>
              </a:r>
              <a:r>
                <a:rPr lang="en-US" altLang="zh-CN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PP</a:t>
              </a:r>
              <a:endPara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" name="íśľîḋè"/>
            <p:cNvSpPr/>
            <p:nvPr/>
          </p:nvSpPr>
          <p:spPr>
            <a:xfrm rot="19552821">
              <a:off x="6877579" y="3293605"/>
              <a:ext cx="2426560" cy="2426560"/>
            </a:xfrm>
            <a:prstGeom prst="arc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ïṡ1iḍe"/>
            <p:cNvSpPr/>
            <p:nvPr/>
          </p:nvSpPr>
          <p:spPr>
            <a:xfrm rot="14322164">
              <a:off x="4689643" y="974922"/>
              <a:ext cx="2426559" cy="2426559"/>
            </a:xfrm>
            <a:prstGeom prst="arc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9" name="îṥlîḑê"/>
            <p:cNvSpPr/>
            <p:nvPr/>
          </p:nvSpPr>
          <p:spPr>
            <a:xfrm rot="9363247">
              <a:off x="2828491" y="3632904"/>
              <a:ext cx="2426556" cy="2426559"/>
            </a:xfrm>
            <a:prstGeom prst="arc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" name="íṡļîḓé"/>
            <p:cNvSpPr>
              <a:spLocks/>
            </p:cNvSpPr>
            <p:nvPr/>
          </p:nvSpPr>
          <p:spPr bwMode="auto">
            <a:xfrm>
              <a:off x="5808910" y="1261063"/>
              <a:ext cx="520759" cy="398205"/>
            </a:xfrm>
            <a:custGeom>
              <a:avLst/>
              <a:gdLst>
                <a:gd name="connsiteX0" fmla="*/ 279380 w 602133"/>
                <a:gd name="connsiteY0" fmla="*/ 303917 h 460429"/>
                <a:gd name="connsiteX1" fmla="*/ 329638 w 602133"/>
                <a:gd name="connsiteY1" fmla="*/ 303917 h 460429"/>
                <a:gd name="connsiteX2" fmla="*/ 405716 w 602133"/>
                <a:gd name="connsiteY2" fmla="*/ 379871 h 460429"/>
                <a:gd name="connsiteX3" fmla="*/ 405716 w 602133"/>
                <a:gd name="connsiteY3" fmla="*/ 441555 h 460429"/>
                <a:gd name="connsiteX4" fmla="*/ 405255 w 602133"/>
                <a:gd name="connsiteY4" fmla="*/ 441555 h 460429"/>
                <a:gd name="connsiteX5" fmla="*/ 401566 w 602133"/>
                <a:gd name="connsiteY5" fmla="*/ 443857 h 460429"/>
                <a:gd name="connsiteX6" fmla="*/ 311195 w 602133"/>
                <a:gd name="connsiteY6" fmla="*/ 460429 h 460429"/>
                <a:gd name="connsiteX7" fmla="*/ 207452 w 602133"/>
                <a:gd name="connsiteY7" fmla="*/ 443857 h 460429"/>
                <a:gd name="connsiteX8" fmla="*/ 203302 w 602133"/>
                <a:gd name="connsiteY8" fmla="*/ 442476 h 460429"/>
                <a:gd name="connsiteX9" fmla="*/ 203302 w 602133"/>
                <a:gd name="connsiteY9" fmla="*/ 441555 h 460429"/>
                <a:gd name="connsiteX10" fmla="*/ 203302 w 602133"/>
                <a:gd name="connsiteY10" fmla="*/ 379871 h 460429"/>
                <a:gd name="connsiteX11" fmla="*/ 279380 w 602133"/>
                <a:gd name="connsiteY11" fmla="*/ 303917 h 460429"/>
                <a:gd name="connsiteX12" fmla="*/ 378044 w 602133"/>
                <a:gd name="connsiteY12" fmla="*/ 242690 h 460429"/>
                <a:gd name="connsiteX13" fmla="*/ 428312 w 602133"/>
                <a:gd name="connsiteY13" fmla="*/ 242690 h 460429"/>
                <a:gd name="connsiteX14" fmla="*/ 504406 w 602133"/>
                <a:gd name="connsiteY14" fmla="*/ 318644 h 460429"/>
                <a:gd name="connsiteX15" fmla="*/ 504406 w 602133"/>
                <a:gd name="connsiteY15" fmla="*/ 380329 h 460429"/>
                <a:gd name="connsiteX16" fmla="*/ 503945 w 602133"/>
                <a:gd name="connsiteY16" fmla="*/ 380329 h 460429"/>
                <a:gd name="connsiteX17" fmla="*/ 499794 w 602133"/>
                <a:gd name="connsiteY17" fmla="*/ 382630 h 460429"/>
                <a:gd name="connsiteX18" fmla="*/ 420011 w 602133"/>
                <a:gd name="connsiteY18" fmla="*/ 399202 h 460429"/>
                <a:gd name="connsiteX19" fmla="*/ 420011 w 602133"/>
                <a:gd name="connsiteY19" fmla="*/ 380329 h 460429"/>
                <a:gd name="connsiteX20" fmla="*/ 355446 w 602133"/>
                <a:gd name="connsiteY20" fmla="*/ 293787 h 460429"/>
                <a:gd name="connsiteX21" fmla="*/ 378044 w 602133"/>
                <a:gd name="connsiteY21" fmla="*/ 242690 h 460429"/>
                <a:gd name="connsiteX22" fmla="*/ 175210 w 602133"/>
                <a:gd name="connsiteY22" fmla="*/ 242690 h 460429"/>
                <a:gd name="connsiteX23" fmla="*/ 225454 w 602133"/>
                <a:gd name="connsiteY23" fmla="*/ 242690 h 460429"/>
                <a:gd name="connsiteX24" fmla="*/ 230986 w 602133"/>
                <a:gd name="connsiteY24" fmla="*/ 243150 h 460429"/>
                <a:gd name="connsiteX25" fmla="*/ 253573 w 602133"/>
                <a:gd name="connsiteY25" fmla="*/ 293792 h 460429"/>
                <a:gd name="connsiteX26" fmla="*/ 189038 w 602133"/>
                <a:gd name="connsiteY26" fmla="*/ 380343 h 460429"/>
                <a:gd name="connsiteX27" fmla="*/ 189038 w 602133"/>
                <a:gd name="connsiteY27" fmla="*/ 398758 h 460429"/>
                <a:gd name="connsiteX28" fmla="*/ 103300 w 602133"/>
                <a:gd name="connsiteY28" fmla="*/ 382645 h 460429"/>
                <a:gd name="connsiteX29" fmla="*/ 99151 w 602133"/>
                <a:gd name="connsiteY29" fmla="*/ 381264 h 460429"/>
                <a:gd name="connsiteX30" fmla="*/ 98690 w 602133"/>
                <a:gd name="connsiteY30" fmla="*/ 380343 h 460429"/>
                <a:gd name="connsiteX31" fmla="*/ 98690 w 602133"/>
                <a:gd name="connsiteY31" fmla="*/ 318652 h 460429"/>
                <a:gd name="connsiteX32" fmla="*/ 175210 w 602133"/>
                <a:gd name="connsiteY32" fmla="*/ 242690 h 460429"/>
                <a:gd name="connsiteX33" fmla="*/ 76056 w 602133"/>
                <a:gd name="connsiteY33" fmla="*/ 185090 h 460429"/>
                <a:gd name="connsiteX34" fmla="*/ 126300 w 602133"/>
                <a:gd name="connsiteY34" fmla="*/ 185090 h 460429"/>
                <a:gd name="connsiteX35" fmla="*/ 148886 w 602133"/>
                <a:gd name="connsiteY35" fmla="*/ 235732 h 460429"/>
                <a:gd name="connsiteX36" fmla="*/ 84353 w 602133"/>
                <a:gd name="connsiteY36" fmla="*/ 322283 h 460429"/>
                <a:gd name="connsiteX37" fmla="*/ 84353 w 602133"/>
                <a:gd name="connsiteY37" fmla="*/ 341158 h 460429"/>
                <a:gd name="connsiteX38" fmla="*/ 4609 w 602133"/>
                <a:gd name="connsiteY38" fmla="*/ 324584 h 460429"/>
                <a:gd name="connsiteX39" fmla="*/ 461 w 602133"/>
                <a:gd name="connsiteY39" fmla="*/ 322743 h 460429"/>
                <a:gd name="connsiteX40" fmla="*/ 0 w 602133"/>
                <a:gd name="connsiteY40" fmla="*/ 322743 h 460429"/>
                <a:gd name="connsiteX41" fmla="*/ 0 w 602133"/>
                <a:gd name="connsiteY41" fmla="*/ 261052 h 460429"/>
                <a:gd name="connsiteX42" fmla="*/ 76056 w 602133"/>
                <a:gd name="connsiteY42" fmla="*/ 185090 h 460429"/>
                <a:gd name="connsiteX43" fmla="*/ 476280 w 602133"/>
                <a:gd name="connsiteY43" fmla="*/ 183239 h 460429"/>
                <a:gd name="connsiteX44" fmla="*/ 526068 w 602133"/>
                <a:gd name="connsiteY44" fmla="*/ 183239 h 460429"/>
                <a:gd name="connsiteX45" fmla="*/ 602133 w 602133"/>
                <a:gd name="connsiteY45" fmla="*/ 259201 h 460429"/>
                <a:gd name="connsiteX46" fmla="*/ 602133 w 602133"/>
                <a:gd name="connsiteY46" fmla="*/ 320432 h 460429"/>
                <a:gd name="connsiteX47" fmla="*/ 601672 w 602133"/>
                <a:gd name="connsiteY47" fmla="*/ 320432 h 460429"/>
                <a:gd name="connsiteX48" fmla="*/ 597984 w 602133"/>
                <a:gd name="connsiteY48" fmla="*/ 322733 h 460429"/>
                <a:gd name="connsiteX49" fmla="*/ 518231 w 602133"/>
                <a:gd name="connsiteY49" fmla="*/ 339307 h 460429"/>
                <a:gd name="connsiteX50" fmla="*/ 518231 w 602133"/>
                <a:gd name="connsiteY50" fmla="*/ 320432 h 460429"/>
                <a:gd name="connsiteX51" fmla="*/ 453691 w 602133"/>
                <a:gd name="connsiteY51" fmla="*/ 233881 h 460429"/>
                <a:gd name="connsiteX52" fmla="*/ 476280 w 602133"/>
                <a:gd name="connsiteY52" fmla="*/ 183239 h 460429"/>
                <a:gd name="connsiteX53" fmla="*/ 304510 w 602133"/>
                <a:gd name="connsiteY53" fmla="*/ 181462 h 460429"/>
                <a:gd name="connsiteX54" fmla="*/ 363739 w 602133"/>
                <a:gd name="connsiteY54" fmla="*/ 240839 h 460429"/>
                <a:gd name="connsiteX55" fmla="*/ 304510 w 602133"/>
                <a:gd name="connsiteY55" fmla="*/ 300216 h 460429"/>
                <a:gd name="connsiteX56" fmla="*/ 245281 w 602133"/>
                <a:gd name="connsiteY56" fmla="*/ 240839 h 460429"/>
                <a:gd name="connsiteX57" fmla="*/ 304510 w 602133"/>
                <a:gd name="connsiteY57" fmla="*/ 181462 h 460429"/>
                <a:gd name="connsiteX58" fmla="*/ 274338 w 602133"/>
                <a:gd name="connsiteY58" fmla="*/ 133116 h 460429"/>
                <a:gd name="connsiteX59" fmla="*/ 328757 w 602133"/>
                <a:gd name="connsiteY59" fmla="*/ 133116 h 460429"/>
                <a:gd name="connsiteX60" fmla="*/ 345821 w 602133"/>
                <a:gd name="connsiteY60" fmla="*/ 134957 h 460429"/>
                <a:gd name="connsiteX61" fmla="*/ 332447 w 602133"/>
                <a:gd name="connsiteY61" fmla="*/ 172703 h 460429"/>
                <a:gd name="connsiteX62" fmla="*/ 304776 w 602133"/>
                <a:gd name="connsiteY62" fmla="*/ 166719 h 460429"/>
                <a:gd name="connsiteX63" fmla="*/ 270648 w 602133"/>
                <a:gd name="connsiteY63" fmla="*/ 175465 h 460429"/>
                <a:gd name="connsiteX64" fmla="*/ 257274 w 602133"/>
                <a:gd name="connsiteY64" fmla="*/ 134957 h 460429"/>
                <a:gd name="connsiteX65" fmla="*/ 274338 w 602133"/>
                <a:gd name="connsiteY65" fmla="*/ 133116 h 460429"/>
                <a:gd name="connsiteX66" fmla="*/ 402940 w 602133"/>
                <a:gd name="connsiteY66" fmla="*/ 120160 h 460429"/>
                <a:gd name="connsiteX67" fmla="*/ 462427 w 602133"/>
                <a:gd name="connsiteY67" fmla="*/ 179582 h 460429"/>
                <a:gd name="connsiteX68" fmla="*/ 402940 w 602133"/>
                <a:gd name="connsiteY68" fmla="*/ 238543 h 460429"/>
                <a:gd name="connsiteX69" fmla="*/ 377577 w 602133"/>
                <a:gd name="connsiteY69" fmla="*/ 233015 h 460429"/>
                <a:gd name="connsiteX70" fmla="*/ 343452 w 602133"/>
                <a:gd name="connsiteY70" fmla="*/ 178661 h 460429"/>
                <a:gd name="connsiteX71" fmla="*/ 402940 w 602133"/>
                <a:gd name="connsiteY71" fmla="*/ 120160 h 460429"/>
                <a:gd name="connsiteX72" fmla="*/ 200081 w 602133"/>
                <a:gd name="connsiteY72" fmla="*/ 120160 h 460429"/>
                <a:gd name="connsiteX73" fmla="*/ 259569 w 602133"/>
                <a:gd name="connsiteY73" fmla="*/ 179582 h 460429"/>
                <a:gd name="connsiteX74" fmla="*/ 259569 w 602133"/>
                <a:gd name="connsiteY74" fmla="*/ 182806 h 460429"/>
                <a:gd name="connsiteX75" fmla="*/ 231900 w 602133"/>
                <a:gd name="connsiteY75" fmla="*/ 229791 h 460429"/>
                <a:gd name="connsiteX76" fmla="*/ 200081 w 602133"/>
                <a:gd name="connsiteY76" fmla="*/ 238543 h 460429"/>
                <a:gd name="connsiteX77" fmla="*/ 140594 w 602133"/>
                <a:gd name="connsiteY77" fmla="*/ 179582 h 460429"/>
                <a:gd name="connsiteX78" fmla="*/ 200081 w 602133"/>
                <a:gd name="connsiteY78" fmla="*/ 120160 h 460429"/>
                <a:gd name="connsiteX79" fmla="*/ 101428 w 602133"/>
                <a:gd name="connsiteY79" fmla="*/ 62190 h 460429"/>
                <a:gd name="connsiteX80" fmla="*/ 160879 w 602133"/>
                <a:gd name="connsiteY80" fmla="*/ 120646 h 460429"/>
                <a:gd name="connsiteX81" fmla="*/ 126315 w 602133"/>
                <a:gd name="connsiteY81" fmla="*/ 175421 h 460429"/>
                <a:gd name="connsiteX82" fmla="*/ 101428 w 602133"/>
                <a:gd name="connsiteY82" fmla="*/ 180944 h 460429"/>
                <a:gd name="connsiteX83" fmla="*/ 41978 w 602133"/>
                <a:gd name="connsiteY83" fmla="*/ 121567 h 460429"/>
                <a:gd name="connsiteX84" fmla="*/ 101428 w 602133"/>
                <a:gd name="connsiteY84" fmla="*/ 62190 h 460429"/>
                <a:gd name="connsiteX85" fmla="*/ 500695 w 602133"/>
                <a:gd name="connsiteY85" fmla="*/ 60339 h 460429"/>
                <a:gd name="connsiteX86" fmla="*/ 560154 w 602133"/>
                <a:gd name="connsiteY86" fmla="*/ 119716 h 460429"/>
                <a:gd name="connsiteX87" fmla="*/ 500695 w 602133"/>
                <a:gd name="connsiteY87" fmla="*/ 179093 h 460429"/>
                <a:gd name="connsiteX88" fmla="*/ 475805 w 602133"/>
                <a:gd name="connsiteY88" fmla="*/ 173570 h 460429"/>
                <a:gd name="connsiteX89" fmla="*/ 441697 w 602133"/>
                <a:gd name="connsiteY89" fmla="*/ 118795 h 460429"/>
                <a:gd name="connsiteX90" fmla="*/ 500695 w 602133"/>
                <a:gd name="connsiteY90" fmla="*/ 60339 h 460429"/>
                <a:gd name="connsiteX91" fmla="*/ 413085 w 602133"/>
                <a:gd name="connsiteY91" fmla="*/ 16140 h 460429"/>
                <a:gd name="connsiteX92" fmla="*/ 468869 w 602133"/>
                <a:gd name="connsiteY92" fmla="*/ 55274 h 460429"/>
                <a:gd name="connsiteX93" fmla="*/ 429221 w 602133"/>
                <a:gd name="connsiteY93" fmla="*/ 112824 h 460429"/>
                <a:gd name="connsiteX94" fmla="*/ 402020 w 602133"/>
                <a:gd name="connsiteY94" fmla="*/ 107760 h 460429"/>
                <a:gd name="connsiteX95" fmla="*/ 370670 w 602133"/>
                <a:gd name="connsiteY95" fmla="*/ 115126 h 460429"/>
                <a:gd name="connsiteX96" fmla="*/ 363294 w 602133"/>
                <a:gd name="connsiteY96" fmla="*/ 105918 h 460429"/>
                <a:gd name="connsiteX97" fmla="*/ 376664 w 602133"/>
                <a:gd name="connsiteY97" fmla="*/ 63561 h 460429"/>
                <a:gd name="connsiteX98" fmla="*/ 370670 w 602133"/>
                <a:gd name="connsiteY98" fmla="*/ 34556 h 460429"/>
                <a:gd name="connsiteX99" fmla="*/ 413085 w 602133"/>
                <a:gd name="connsiteY99" fmla="*/ 16140 h 460429"/>
                <a:gd name="connsiteX100" fmla="*/ 192697 w 602133"/>
                <a:gd name="connsiteY100" fmla="*/ 16140 h 460429"/>
                <a:gd name="connsiteX101" fmla="*/ 231875 w 602133"/>
                <a:gd name="connsiteY101" fmla="*/ 31337 h 460429"/>
                <a:gd name="connsiteX102" fmla="*/ 224501 w 602133"/>
                <a:gd name="connsiteY102" fmla="*/ 63573 h 460429"/>
                <a:gd name="connsiteX103" fmla="*/ 240172 w 602133"/>
                <a:gd name="connsiteY103" fmla="*/ 109165 h 460429"/>
                <a:gd name="connsiteX104" fmla="*/ 233719 w 602133"/>
                <a:gd name="connsiteY104" fmla="*/ 116533 h 460429"/>
                <a:gd name="connsiteX105" fmla="*/ 199150 w 602133"/>
                <a:gd name="connsiteY105" fmla="*/ 107783 h 460429"/>
                <a:gd name="connsiteX106" fmla="*/ 171034 w 602133"/>
                <a:gd name="connsiteY106" fmla="*/ 114230 h 460429"/>
                <a:gd name="connsiteX107" fmla="*/ 136004 w 602133"/>
                <a:gd name="connsiteY107" fmla="*/ 59429 h 460429"/>
                <a:gd name="connsiteX108" fmla="*/ 192697 w 602133"/>
                <a:gd name="connsiteY108" fmla="*/ 16140 h 460429"/>
                <a:gd name="connsiteX109" fmla="*/ 301511 w 602133"/>
                <a:gd name="connsiteY109" fmla="*/ 0 h 460429"/>
                <a:gd name="connsiteX110" fmla="*/ 366033 w 602133"/>
                <a:gd name="connsiteY110" fmla="*/ 64485 h 460429"/>
                <a:gd name="connsiteX111" fmla="*/ 301511 w 602133"/>
                <a:gd name="connsiteY111" fmla="*/ 128970 h 460429"/>
                <a:gd name="connsiteX112" fmla="*/ 236989 w 602133"/>
                <a:gd name="connsiteY112" fmla="*/ 64485 h 460429"/>
                <a:gd name="connsiteX113" fmla="*/ 301511 w 602133"/>
                <a:gd name="connsiteY113" fmla="*/ 0 h 46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602133" h="460429">
                  <a:moveTo>
                    <a:pt x="279380" y="303917"/>
                  </a:moveTo>
                  <a:lnTo>
                    <a:pt x="329638" y="303917"/>
                  </a:lnTo>
                  <a:cubicBezTo>
                    <a:pt x="371596" y="303917"/>
                    <a:pt x="405716" y="337981"/>
                    <a:pt x="405716" y="379871"/>
                  </a:cubicBezTo>
                  <a:lnTo>
                    <a:pt x="405716" y="441555"/>
                  </a:lnTo>
                  <a:lnTo>
                    <a:pt x="405255" y="441555"/>
                  </a:lnTo>
                  <a:lnTo>
                    <a:pt x="401566" y="443857"/>
                  </a:lnTo>
                  <a:cubicBezTo>
                    <a:pt x="399261" y="444778"/>
                    <a:pt x="366985" y="460429"/>
                    <a:pt x="311195" y="460429"/>
                  </a:cubicBezTo>
                  <a:cubicBezTo>
                    <a:pt x="282608" y="460429"/>
                    <a:pt x="247566" y="456286"/>
                    <a:pt x="207452" y="443857"/>
                  </a:cubicBezTo>
                  <a:lnTo>
                    <a:pt x="203302" y="442476"/>
                  </a:lnTo>
                  <a:lnTo>
                    <a:pt x="203302" y="441555"/>
                  </a:lnTo>
                  <a:lnTo>
                    <a:pt x="203302" y="379871"/>
                  </a:lnTo>
                  <a:cubicBezTo>
                    <a:pt x="203302" y="337981"/>
                    <a:pt x="237422" y="303917"/>
                    <a:pt x="279380" y="303917"/>
                  </a:cubicBezTo>
                  <a:close/>
                  <a:moveTo>
                    <a:pt x="378044" y="242690"/>
                  </a:moveTo>
                  <a:lnTo>
                    <a:pt x="428312" y="242690"/>
                  </a:lnTo>
                  <a:cubicBezTo>
                    <a:pt x="470279" y="242690"/>
                    <a:pt x="504406" y="276754"/>
                    <a:pt x="504406" y="318644"/>
                  </a:cubicBezTo>
                  <a:lnTo>
                    <a:pt x="504406" y="380329"/>
                  </a:lnTo>
                  <a:lnTo>
                    <a:pt x="503945" y="380329"/>
                  </a:lnTo>
                  <a:lnTo>
                    <a:pt x="499794" y="382630"/>
                  </a:lnTo>
                  <a:cubicBezTo>
                    <a:pt x="497950" y="383551"/>
                    <a:pt x="469357" y="397361"/>
                    <a:pt x="420011" y="399202"/>
                  </a:cubicBezTo>
                  <a:lnTo>
                    <a:pt x="420011" y="380329"/>
                  </a:lnTo>
                  <a:cubicBezTo>
                    <a:pt x="420011" y="339359"/>
                    <a:pt x="392801" y="304834"/>
                    <a:pt x="355446" y="293787"/>
                  </a:cubicBezTo>
                  <a:cubicBezTo>
                    <a:pt x="368820" y="280897"/>
                    <a:pt x="377583" y="262944"/>
                    <a:pt x="378044" y="242690"/>
                  </a:cubicBezTo>
                  <a:close/>
                  <a:moveTo>
                    <a:pt x="175210" y="242690"/>
                  </a:moveTo>
                  <a:lnTo>
                    <a:pt x="225454" y="242690"/>
                  </a:lnTo>
                  <a:cubicBezTo>
                    <a:pt x="227298" y="242690"/>
                    <a:pt x="229142" y="243150"/>
                    <a:pt x="230986" y="243150"/>
                  </a:cubicBezTo>
                  <a:cubicBezTo>
                    <a:pt x="231447" y="262947"/>
                    <a:pt x="240205" y="280901"/>
                    <a:pt x="253573" y="293792"/>
                  </a:cubicBezTo>
                  <a:cubicBezTo>
                    <a:pt x="216235" y="304841"/>
                    <a:pt x="189038" y="339369"/>
                    <a:pt x="189038" y="380343"/>
                  </a:cubicBezTo>
                  <a:lnTo>
                    <a:pt x="189038" y="398758"/>
                  </a:lnTo>
                  <a:cubicBezTo>
                    <a:pt x="164146" y="397377"/>
                    <a:pt x="135567" y="392773"/>
                    <a:pt x="103300" y="382645"/>
                  </a:cubicBezTo>
                  <a:lnTo>
                    <a:pt x="99151" y="381264"/>
                  </a:lnTo>
                  <a:lnTo>
                    <a:pt x="98690" y="380343"/>
                  </a:lnTo>
                  <a:lnTo>
                    <a:pt x="98690" y="318652"/>
                  </a:lnTo>
                  <a:cubicBezTo>
                    <a:pt x="98690" y="276758"/>
                    <a:pt x="133262" y="242690"/>
                    <a:pt x="175210" y="242690"/>
                  </a:cubicBezTo>
                  <a:close/>
                  <a:moveTo>
                    <a:pt x="76056" y="185090"/>
                  </a:moveTo>
                  <a:lnTo>
                    <a:pt x="126300" y="185090"/>
                  </a:lnTo>
                  <a:cubicBezTo>
                    <a:pt x="126760" y="204886"/>
                    <a:pt x="135058" y="222841"/>
                    <a:pt x="148886" y="235732"/>
                  </a:cubicBezTo>
                  <a:cubicBezTo>
                    <a:pt x="111549" y="246781"/>
                    <a:pt x="84353" y="281309"/>
                    <a:pt x="84353" y="322283"/>
                  </a:cubicBezTo>
                  <a:lnTo>
                    <a:pt x="84353" y="341158"/>
                  </a:lnTo>
                  <a:cubicBezTo>
                    <a:pt x="34571" y="339316"/>
                    <a:pt x="6453" y="325505"/>
                    <a:pt x="4609" y="324584"/>
                  </a:cubicBezTo>
                  <a:lnTo>
                    <a:pt x="461" y="322743"/>
                  </a:lnTo>
                  <a:lnTo>
                    <a:pt x="0" y="322743"/>
                  </a:lnTo>
                  <a:lnTo>
                    <a:pt x="0" y="261052"/>
                  </a:lnTo>
                  <a:cubicBezTo>
                    <a:pt x="0" y="219158"/>
                    <a:pt x="34110" y="185090"/>
                    <a:pt x="76056" y="185090"/>
                  </a:cubicBezTo>
                  <a:close/>
                  <a:moveTo>
                    <a:pt x="476280" y="183239"/>
                  </a:moveTo>
                  <a:lnTo>
                    <a:pt x="526068" y="183239"/>
                  </a:lnTo>
                  <a:cubicBezTo>
                    <a:pt x="568019" y="183239"/>
                    <a:pt x="602133" y="217307"/>
                    <a:pt x="602133" y="259201"/>
                  </a:cubicBezTo>
                  <a:lnTo>
                    <a:pt x="602133" y="320432"/>
                  </a:lnTo>
                  <a:lnTo>
                    <a:pt x="601672" y="320432"/>
                  </a:lnTo>
                  <a:lnTo>
                    <a:pt x="597984" y="322733"/>
                  </a:lnTo>
                  <a:cubicBezTo>
                    <a:pt x="596140" y="323654"/>
                    <a:pt x="567558" y="337465"/>
                    <a:pt x="518231" y="339307"/>
                  </a:cubicBezTo>
                  <a:lnTo>
                    <a:pt x="518231" y="320432"/>
                  </a:lnTo>
                  <a:cubicBezTo>
                    <a:pt x="518231" y="279458"/>
                    <a:pt x="490571" y="244930"/>
                    <a:pt x="453691" y="233881"/>
                  </a:cubicBezTo>
                  <a:cubicBezTo>
                    <a:pt x="467060" y="220990"/>
                    <a:pt x="475358" y="203035"/>
                    <a:pt x="476280" y="183239"/>
                  </a:cubicBezTo>
                  <a:close/>
                  <a:moveTo>
                    <a:pt x="304510" y="181462"/>
                  </a:moveTo>
                  <a:cubicBezTo>
                    <a:pt x="337221" y="181462"/>
                    <a:pt x="363739" y="208046"/>
                    <a:pt x="363739" y="240839"/>
                  </a:cubicBezTo>
                  <a:cubicBezTo>
                    <a:pt x="363739" y="273632"/>
                    <a:pt x="337221" y="300216"/>
                    <a:pt x="304510" y="300216"/>
                  </a:cubicBezTo>
                  <a:cubicBezTo>
                    <a:pt x="271799" y="300216"/>
                    <a:pt x="245281" y="273632"/>
                    <a:pt x="245281" y="240839"/>
                  </a:cubicBezTo>
                  <a:cubicBezTo>
                    <a:pt x="245281" y="208046"/>
                    <a:pt x="271799" y="181462"/>
                    <a:pt x="304510" y="181462"/>
                  </a:cubicBezTo>
                  <a:close/>
                  <a:moveTo>
                    <a:pt x="274338" y="133116"/>
                  </a:moveTo>
                  <a:lnTo>
                    <a:pt x="328757" y="133116"/>
                  </a:lnTo>
                  <a:cubicBezTo>
                    <a:pt x="334753" y="133116"/>
                    <a:pt x="340287" y="134037"/>
                    <a:pt x="345821" y="134957"/>
                  </a:cubicBezTo>
                  <a:cubicBezTo>
                    <a:pt x="337981" y="145545"/>
                    <a:pt x="333369" y="158894"/>
                    <a:pt x="332447" y="172703"/>
                  </a:cubicBezTo>
                  <a:cubicBezTo>
                    <a:pt x="324145" y="169021"/>
                    <a:pt x="314461" y="166719"/>
                    <a:pt x="304776" y="166719"/>
                  </a:cubicBezTo>
                  <a:cubicBezTo>
                    <a:pt x="292324" y="166719"/>
                    <a:pt x="280794" y="169941"/>
                    <a:pt x="270648" y="175465"/>
                  </a:cubicBezTo>
                  <a:cubicBezTo>
                    <a:pt x="270648" y="160275"/>
                    <a:pt x="265575" y="146465"/>
                    <a:pt x="257274" y="134957"/>
                  </a:cubicBezTo>
                  <a:cubicBezTo>
                    <a:pt x="262808" y="134037"/>
                    <a:pt x="268342" y="133116"/>
                    <a:pt x="274338" y="133116"/>
                  </a:cubicBezTo>
                  <a:close/>
                  <a:moveTo>
                    <a:pt x="402940" y="120160"/>
                  </a:moveTo>
                  <a:cubicBezTo>
                    <a:pt x="435681" y="120160"/>
                    <a:pt x="462427" y="146416"/>
                    <a:pt x="462427" y="179582"/>
                  </a:cubicBezTo>
                  <a:cubicBezTo>
                    <a:pt x="462427" y="212287"/>
                    <a:pt x="435681" y="238543"/>
                    <a:pt x="402940" y="238543"/>
                  </a:cubicBezTo>
                  <a:cubicBezTo>
                    <a:pt x="393717" y="238543"/>
                    <a:pt x="385416" y="236700"/>
                    <a:pt x="377577" y="233015"/>
                  </a:cubicBezTo>
                  <a:cubicBezTo>
                    <a:pt x="375271" y="209984"/>
                    <a:pt x="362359" y="190176"/>
                    <a:pt x="343452" y="178661"/>
                  </a:cubicBezTo>
                  <a:cubicBezTo>
                    <a:pt x="343913" y="145956"/>
                    <a:pt x="370198" y="120160"/>
                    <a:pt x="402940" y="120160"/>
                  </a:cubicBezTo>
                  <a:close/>
                  <a:moveTo>
                    <a:pt x="200081" y="120160"/>
                  </a:moveTo>
                  <a:cubicBezTo>
                    <a:pt x="232823" y="120160"/>
                    <a:pt x="259569" y="146416"/>
                    <a:pt x="259569" y="179582"/>
                  </a:cubicBezTo>
                  <a:cubicBezTo>
                    <a:pt x="259569" y="180503"/>
                    <a:pt x="259569" y="181424"/>
                    <a:pt x="259569" y="182806"/>
                  </a:cubicBezTo>
                  <a:cubicBezTo>
                    <a:pt x="244812" y="193861"/>
                    <a:pt x="234667" y="210444"/>
                    <a:pt x="231900" y="229791"/>
                  </a:cubicBezTo>
                  <a:cubicBezTo>
                    <a:pt x="222677" y="235319"/>
                    <a:pt x="212071" y="238543"/>
                    <a:pt x="200081" y="238543"/>
                  </a:cubicBezTo>
                  <a:cubicBezTo>
                    <a:pt x="167340" y="238543"/>
                    <a:pt x="140594" y="212287"/>
                    <a:pt x="140594" y="179582"/>
                  </a:cubicBezTo>
                  <a:cubicBezTo>
                    <a:pt x="140594" y="146416"/>
                    <a:pt x="167340" y="120160"/>
                    <a:pt x="200081" y="120160"/>
                  </a:cubicBezTo>
                  <a:close/>
                  <a:moveTo>
                    <a:pt x="101428" y="62190"/>
                  </a:moveTo>
                  <a:cubicBezTo>
                    <a:pt x="133688" y="62190"/>
                    <a:pt x="160418" y="88426"/>
                    <a:pt x="160879" y="120646"/>
                  </a:cubicBezTo>
                  <a:cubicBezTo>
                    <a:pt x="141984" y="132154"/>
                    <a:pt x="128619" y="152406"/>
                    <a:pt x="126315" y="175421"/>
                  </a:cubicBezTo>
                  <a:cubicBezTo>
                    <a:pt x="118941" y="178643"/>
                    <a:pt x="110185" y="180944"/>
                    <a:pt x="101428" y="180944"/>
                  </a:cubicBezTo>
                  <a:cubicBezTo>
                    <a:pt x="68708" y="180944"/>
                    <a:pt x="41978" y="154247"/>
                    <a:pt x="41978" y="121567"/>
                  </a:cubicBezTo>
                  <a:cubicBezTo>
                    <a:pt x="41978" y="88887"/>
                    <a:pt x="68708" y="62190"/>
                    <a:pt x="101428" y="62190"/>
                  </a:cubicBezTo>
                  <a:close/>
                  <a:moveTo>
                    <a:pt x="500695" y="60339"/>
                  </a:moveTo>
                  <a:cubicBezTo>
                    <a:pt x="533882" y="60339"/>
                    <a:pt x="560154" y="87036"/>
                    <a:pt x="560154" y="119716"/>
                  </a:cubicBezTo>
                  <a:cubicBezTo>
                    <a:pt x="560154" y="152396"/>
                    <a:pt x="533882" y="179093"/>
                    <a:pt x="500695" y="179093"/>
                  </a:cubicBezTo>
                  <a:cubicBezTo>
                    <a:pt x="491938" y="179093"/>
                    <a:pt x="483180" y="176792"/>
                    <a:pt x="475805" y="173570"/>
                  </a:cubicBezTo>
                  <a:cubicBezTo>
                    <a:pt x="473501" y="150095"/>
                    <a:pt x="460134" y="130303"/>
                    <a:pt x="441697" y="118795"/>
                  </a:cubicBezTo>
                  <a:cubicBezTo>
                    <a:pt x="442158" y="86575"/>
                    <a:pt x="468431" y="60339"/>
                    <a:pt x="500695" y="60339"/>
                  </a:cubicBezTo>
                  <a:close/>
                  <a:moveTo>
                    <a:pt x="413085" y="16140"/>
                  </a:moveTo>
                  <a:cubicBezTo>
                    <a:pt x="438441" y="16140"/>
                    <a:pt x="460571" y="31794"/>
                    <a:pt x="468869" y="55274"/>
                  </a:cubicBezTo>
                  <a:cubicBezTo>
                    <a:pt x="446279" y="66324"/>
                    <a:pt x="431526" y="87962"/>
                    <a:pt x="429221" y="112824"/>
                  </a:cubicBezTo>
                  <a:cubicBezTo>
                    <a:pt x="422766" y="110522"/>
                    <a:pt x="412624" y="107760"/>
                    <a:pt x="402020" y="107760"/>
                  </a:cubicBezTo>
                  <a:cubicBezTo>
                    <a:pt x="390956" y="107760"/>
                    <a:pt x="380352" y="110062"/>
                    <a:pt x="370670" y="115126"/>
                  </a:cubicBezTo>
                  <a:cubicBezTo>
                    <a:pt x="367904" y="112364"/>
                    <a:pt x="365599" y="109141"/>
                    <a:pt x="363294" y="105918"/>
                  </a:cubicBezTo>
                  <a:cubicBezTo>
                    <a:pt x="372054" y="93487"/>
                    <a:pt x="376664" y="78754"/>
                    <a:pt x="376664" y="63561"/>
                  </a:cubicBezTo>
                  <a:cubicBezTo>
                    <a:pt x="376664" y="53432"/>
                    <a:pt x="374359" y="43764"/>
                    <a:pt x="370670" y="34556"/>
                  </a:cubicBezTo>
                  <a:cubicBezTo>
                    <a:pt x="381735" y="22586"/>
                    <a:pt x="396949" y="16140"/>
                    <a:pt x="413085" y="16140"/>
                  </a:cubicBezTo>
                  <a:close/>
                  <a:moveTo>
                    <a:pt x="192697" y="16140"/>
                  </a:moveTo>
                  <a:cubicBezTo>
                    <a:pt x="207447" y="16140"/>
                    <a:pt x="221274" y="21206"/>
                    <a:pt x="231875" y="31337"/>
                  </a:cubicBezTo>
                  <a:cubicBezTo>
                    <a:pt x="227266" y="41008"/>
                    <a:pt x="224501" y="52060"/>
                    <a:pt x="224501" y="63573"/>
                  </a:cubicBezTo>
                  <a:cubicBezTo>
                    <a:pt x="224501" y="80152"/>
                    <a:pt x="230032" y="96270"/>
                    <a:pt x="240172" y="109165"/>
                  </a:cubicBezTo>
                  <a:cubicBezTo>
                    <a:pt x="238328" y="111928"/>
                    <a:pt x="236024" y="114230"/>
                    <a:pt x="233719" y="116533"/>
                  </a:cubicBezTo>
                  <a:cubicBezTo>
                    <a:pt x="223118" y="111007"/>
                    <a:pt x="211134" y="107783"/>
                    <a:pt x="199150" y="107783"/>
                  </a:cubicBezTo>
                  <a:cubicBezTo>
                    <a:pt x="189010" y="107783"/>
                    <a:pt x="177948" y="111467"/>
                    <a:pt x="171034" y="114230"/>
                  </a:cubicBezTo>
                  <a:cubicBezTo>
                    <a:pt x="168729" y="91204"/>
                    <a:pt x="155824" y="70942"/>
                    <a:pt x="136004" y="59429"/>
                  </a:cubicBezTo>
                  <a:cubicBezTo>
                    <a:pt x="142457" y="34100"/>
                    <a:pt x="165964" y="16140"/>
                    <a:pt x="192697" y="16140"/>
                  </a:cubicBezTo>
                  <a:close/>
                  <a:moveTo>
                    <a:pt x="301511" y="0"/>
                  </a:moveTo>
                  <a:cubicBezTo>
                    <a:pt x="337146" y="0"/>
                    <a:pt x="366033" y="28871"/>
                    <a:pt x="366033" y="64485"/>
                  </a:cubicBezTo>
                  <a:cubicBezTo>
                    <a:pt x="366033" y="100099"/>
                    <a:pt x="337146" y="128970"/>
                    <a:pt x="301511" y="128970"/>
                  </a:cubicBezTo>
                  <a:cubicBezTo>
                    <a:pt x="265876" y="128970"/>
                    <a:pt x="236989" y="100099"/>
                    <a:pt x="236989" y="64485"/>
                  </a:cubicBezTo>
                  <a:cubicBezTo>
                    <a:pt x="236989" y="28871"/>
                    <a:pt x="265876" y="0"/>
                    <a:pt x="3015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" name="ísḷiḍé"/>
            <p:cNvSpPr>
              <a:spLocks/>
            </p:cNvSpPr>
            <p:nvPr/>
          </p:nvSpPr>
          <p:spPr bwMode="auto">
            <a:xfrm>
              <a:off x="3812230" y="3664482"/>
              <a:ext cx="544425" cy="532378"/>
            </a:xfrm>
            <a:custGeom>
              <a:avLst/>
              <a:gdLst>
                <a:gd name="connsiteX0" fmla="*/ 506334 w 607638"/>
                <a:gd name="connsiteY0" fmla="*/ 455027 h 606722"/>
                <a:gd name="connsiteX1" fmla="*/ 506334 w 607638"/>
                <a:gd name="connsiteY1" fmla="*/ 505592 h 606722"/>
                <a:gd name="connsiteX2" fmla="*/ 531616 w 607638"/>
                <a:gd name="connsiteY2" fmla="*/ 505592 h 606722"/>
                <a:gd name="connsiteX3" fmla="*/ 556986 w 607638"/>
                <a:gd name="connsiteY3" fmla="*/ 480265 h 606722"/>
                <a:gd name="connsiteX4" fmla="*/ 531616 w 607638"/>
                <a:gd name="connsiteY4" fmla="*/ 455027 h 606722"/>
                <a:gd name="connsiteX5" fmla="*/ 430401 w 607638"/>
                <a:gd name="connsiteY5" fmla="*/ 353896 h 606722"/>
                <a:gd name="connsiteX6" fmla="*/ 405031 w 607638"/>
                <a:gd name="connsiteY6" fmla="*/ 379223 h 606722"/>
                <a:gd name="connsiteX7" fmla="*/ 430401 w 607638"/>
                <a:gd name="connsiteY7" fmla="*/ 404461 h 606722"/>
                <a:gd name="connsiteX8" fmla="*/ 455683 w 607638"/>
                <a:gd name="connsiteY8" fmla="*/ 404461 h 606722"/>
                <a:gd name="connsiteX9" fmla="*/ 455683 w 607638"/>
                <a:gd name="connsiteY9" fmla="*/ 353896 h 606722"/>
                <a:gd name="connsiteX10" fmla="*/ 480964 w 607638"/>
                <a:gd name="connsiteY10" fmla="*/ 252766 h 606722"/>
                <a:gd name="connsiteX11" fmla="*/ 506334 w 607638"/>
                <a:gd name="connsiteY11" fmla="*/ 278093 h 606722"/>
                <a:gd name="connsiteX12" fmla="*/ 506334 w 607638"/>
                <a:gd name="connsiteY12" fmla="*/ 303331 h 606722"/>
                <a:gd name="connsiteX13" fmla="*/ 556986 w 607638"/>
                <a:gd name="connsiteY13" fmla="*/ 303331 h 606722"/>
                <a:gd name="connsiteX14" fmla="*/ 582268 w 607638"/>
                <a:gd name="connsiteY14" fmla="*/ 328658 h 606722"/>
                <a:gd name="connsiteX15" fmla="*/ 556986 w 607638"/>
                <a:gd name="connsiteY15" fmla="*/ 353896 h 606722"/>
                <a:gd name="connsiteX16" fmla="*/ 506334 w 607638"/>
                <a:gd name="connsiteY16" fmla="*/ 353896 h 606722"/>
                <a:gd name="connsiteX17" fmla="*/ 506334 w 607638"/>
                <a:gd name="connsiteY17" fmla="*/ 404461 h 606722"/>
                <a:gd name="connsiteX18" fmla="*/ 531616 w 607638"/>
                <a:gd name="connsiteY18" fmla="*/ 404461 h 606722"/>
                <a:gd name="connsiteX19" fmla="*/ 607638 w 607638"/>
                <a:gd name="connsiteY19" fmla="*/ 480265 h 606722"/>
                <a:gd name="connsiteX20" fmla="*/ 531616 w 607638"/>
                <a:gd name="connsiteY20" fmla="*/ 556157 h 606722"/>
                <a:gd name="connsiteX21" fmla="*/ 506334 w 607638"/>
                <a:gd name="connsiteY21" fmla="*/ 556157 h 606722"/>
                <a:gd name="connsiteX22" fmla="*/ 506334 w 607638"/>
                <a:gd name="connsiteY22" fmla="*/ 581395 h 606722"/>
                <a:gd name="connsiteX23" fmla="*/ 480964 w 607638"/>
                <a:gd name="connsiteY23" fmla="*/ 606722 h 606722"/>
                <a:gd name="connsiteX24" fmla="*/ 455683 w 607638"/>
                <a:gd name="connsiteY24" fmla="*/ 581395 h 606722"/>
                <a:gd name="connsiteX25" fmla="*/ 455683 w 607638"/>
                <a:gd name="connsiteY25" fmla="*/ 556157 h 606722"/>
                <a:gd name="connsiteX26" fmla="*/ 405031 w 607638"/>
                <a:gd name="connsiteY26" fmla="*/ 556157 h 606722"/>
                <a:gd name="connsiteX27" fmla="*/ 379749 w 607638"/>
                <a:gd name="connsiteY27" fmla="*/ 530830 h 606722"/>
                <a:gd name="connsiteX28" fmla="*/ 405031 w 607638"/>
                <a:gd name="connsiteY28" fmla="*/ 505592 h 606722"/>
                <a:gd name="connsiteX29" fmla="*/ 455683 w 607638"/>
                <a:gd name="connsiteY29" fmla="*/ 505592 h 606722"/>
                <a:gd name="connsiteX30" fmla="*/ 455683 w 607638"/>
                <a:gd name="connsiteY30" fmla="*/ 455027 h 606722"/>
                <a:gd name="connsiteX31" fmla="*/ 430401 w 607638"/>
                <a:gd name="connsiteY31" fmla="*/ 455027 h 606722"/>
                <a:gd name="connsiteX32" fmla="*/ 354379 w 607638"/>
                <a:gd name="connsiteY32" fmla="*/ 379223 h 606722"/>
                <a:gd name="connsiteX33" fmla="*/ 430401 w 607638"/>
                <a:gd name="connsiteY33" fmla="*/ 303331 h 606722"/>
                <a:gd name="connsiteX34" fmla="*/ 455683 w 607638"/>
                <a:gd name="connsiteY34" fmla="*/ 303331 h 606722"/>
                <a:gd name="connsiteX35" fmla="*/ 455683 w 607638"/>
                <a:gd name="connsiteY35" fmla="*/ 278093 h 606722"/>
                <a:gd name="connsiteX36" fmla="*/ 480964 w 607638"/>
                <a:gd name="connsiteY36" fmla="*/ 252766 h 606722"/>
                <a:gd name="connsiteX37" fmla="*/ 303759 w 607638"/>
                <a:gd name="connsiteY37" fmla="*/ 151716 h 606722"/>
                <a:gd name="connsiteX38" fmla="*/ 329117 w 607638"/>
                <a:gd name="connsiteY38" fmla="*/ 176950 h 606722"/>
                <a:gd name="connsiteX39" fmla="*/ 329117 w 607638"/>
                <a:gd name="connsiteY39" fmla="*/ 303301 h 606722"/>
                <a:gd name="connsiteX40" fmla="*/ 303759 w 607638"/>
                <a:gd name="connsiteY40" fmla="*/ 328624 h 606722"/>
                <a:gd name="connsiteX41" fmla="*/ 227862 w 607638"/>
                <a:gd name="connsiteY41" fmla="*/ 328624 h 606722"/>
                <a:gd name="connsiteX42" fmla="*/ 202593 w 607638"/>
                <a:gd name="connsiteY42" fmla="*/ 303301 h 606722"/>
                <a:gd name="connsiteX43" fmla="*/ 227862 w 607638"/>
                <a:gd name="connsiteY43" fmla="*/ 278066 h 606722"/>
                <a:gd name="connsiteX44" fmla="*/ 278490 w 607638"/>
                <a:gd name="connsiteY44" fmla="*/ 278066 h 606722"/>
                <a:gd name="connsiteX45" fmla="*/ 278490 w 607638"/>
                <a:gd name="connsiteY45" fmla="*/ 176950 h 606722"/>
                <a:gd name="connsiteX46" fmla="*/ 303759 w 607638"/>
                <a:gd name="connsiteY46" fmla="*/ 151716 h 606722"/>
                <a:gd name="connsiteX47" fmla="*/ 303762 w 607638"/>
                <a:gd name="connsiteY47" fmla="*/ 0 h 606722"/>
                <a:gd name="connsiteX48" fmla="*/ 606634 w 607638"/>
                <a:gd name="connsiteY48" fmla="*/ 220667 h 606722"/>
                <a:gd name="connsiteX49" fmla="*/ 589190 w 607638"/>
                <a:gd name="connsiteY49" fmla="*/ 251860 h 606722"/>
                <a:gd name="connsiteX50" fmla="*/ 557950 w 607638"/>
                <a:gd name="connsiteY50" fmla="*/ 234353 h 606722"/>
                <a:gd name="connsiteX51" fmla="*/ 303762 w 607638"/>
                <a:gd name="connsiteY51" fmla="*/ 50568 h 606722"/>
                <a:gd name="connsiteX52" fmla="*/ 50642 w 607638"/>
                <a:gd name="connsiteY52" fmla="*/ 303317 h 606722"/>
                <a:gd name="connsiteX53" fmla="*/ 303762 w 607638"/>
                <a:gd name="connsiteY53" fmla="*/ 556154 h 606722"/>
                <a:gd name="connsiteX54" fmla="*/ 329127 w 607638"/>
                <a:gd name="connsiteY54" fmla="*/ 581394 h 606722"/>
                <a:gd name="connsiteX55" fmla="*/ 303762 w 607638"/>
                <a:gd name="connsiteY55" fmla="*/ 606722 h 606722"/>
                <a:gd name="connsiteX56" fmla="*/ 0 w 607638"/>
                <a:gd name="connsiteY56" fmla="*/ 303317 h 606722"/>
                <a:gd name="connsiteX57" fmla="*/ 303762 w 607638"/>
                <a:gd name="connsiteY5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7638" h="606722">
                  <a:moveTo>
                    <a:pt x="506334" y="455027"/>
                  </a:moveTo>
                  <a:lnTo>
                    <a:pt x="506334" y="505592"/>
                  </a:lnTo>
                  <a:lnTo>
                    <a:pt x="531616" y="505592"/>
                  </a:lnTo>
                  <a:cubicBezTo>
                    <a:pt x="545592" y="505592"/>
                    <a:pt x="556986" y="494217"/>
                    <a:pt x="556986" y="480265"/>
                  </a:cubicBezTo>
                  <a:cubicBezTo>
                    <a:pt x="556986" y="466401"/>
                    <a:pt x="545592" y="455027"/>
                    <a:pt x="531616" y="455027"/>
                  </a:cubicBezTo>
                  <a:close/>
                  <a:moveTo>
                    <a:pt x="430401" y="353896"/>
                  </a:moveTo>
                  <a:cubicBezTo>
                    <a:pt x="416425" y="353896"/>
                    <a:pt x="405031" y="365271"/>
                    <a:pt x="405031" y="379223"/>
                  </a:cubicBezTo>
                  <a:cubicBezTo>
                    <a:pt x="405031" y="393087"/>
                    <a:pt x="416425" y="404461"/>
                    <a:pt x="430401" y="404461"/>
                  </a:cubicBezTo>
                  <a:lnTo>
                    <a:pt x="455683" y="404461"/>
                  </a:lnTo>
                  <a:lnTo>
                    <a:pt x="455683" y="353896"/>
                  </a:lnTo>
                  <a:close/>
                  <a:moveTo>
                    <a:pt x="480964" y="252766"/>
                  </a:moveTo>
                  <a:cubicBezTo>
                    <a:pt x="495029" y="252766"/>
                    <a:pt x="506334" y="264141"/>
                    <a:pt x="506334" y="278093"/>
                  </a:cubicBezTo>
                  <a:lnTo>
                    <a:pt x="506334" y="303331"/>
                  </a:lnTo>
                  <a:lnTo>
                    <a:pt x="556986" y="303331"/>
                  </a:lnTo>
                  <a:cubicBezTo>
                    <a:pt x="570962" y="303331"/>
                    <a:pt x="582268" y="314706"/>
                    <a:pt x="582268" y="328658"/>
                  </a:cubicBezTo>
                  <a:cubicBezTo>
                    <a:pt x="582268" y="342610"/>
                    <a:pt x="570962" y="353896"/>
                    <a:pt x="556986" y="353896"/>
                  </a:cubicBezTo>
                  <a:lnTo>
                    <a:pt x="506334" y="353896"/>
                  </a:lnTo>
                  <a:lnTo>
                    <a:pt x="506334" y="404461"/>
                  </a:lnTo>
                  <a:lnTo>
                    <a:pt x="531616" y="404461"/>
                  </a:lnTo>
                  <a:cubicBezTo>
                    <a:pt x="573544" y="404461"/>
                    <a:pt x="607638" y="438497"/>
                    <a:pt x="607638" y="480265"/>
                  </a:cubicBezTo>
                  <a:cubicBezTo>
                    <a:pt x="607638" y="522121"/>
                    <a:pt x="573544" y="556157"/>
                    <a:pt x="531616" y="556157"/>
                  </a:cubicBezTo>
                  <a:lnTo>
                    <a:pt x="506334" y="556157"/>
                  </a:lnTo>
                  <a:lnTo>
                    <a:pt x="506334" y="581395"/>
                  </a:lnTo>
                  <a:cubicBezTo>
                    <a:pt x="506334" y="595347"/>
                    <a:pt x="495029" y="606722"/>
                    <a:pt x="480964" y="606722"/>
                  </a:cubicBezTo>
                  <a:cubicBezTo>
                    <a:pt x="466988" y="606722"/>
                    <a:pt x="455683" y="595347"/>
                    <a:pt x="455683" y="581395"/>
                  </a:cubicBezTo>
                  <a:lnTo>
                    <a:pt x="455683" y="556157"/>
                  </a:lnTo>
                  <a:lnTo>
                    <a:pt x="405031" y="556157"/>
                  </a:lnTo>
                  <a:cubicBezTo>
                    <a:pt x="391055" y="556157"/>
                    <a:pt x="379749" y="544782"/>
                    <a:pt x="379749" y="530830"/>
                  </a:cubicBezTo>
                  <a:cubicBezTo>
                    <a:pt x="379749" y="516878"/>
                    <a:pt x="391055" y="505592"/>
                    <a:pt x="405031" y="505592"/>
                  </a:cubicBezTo>
                  <a:lnTo>
                    <a:pt x="455683" y="505592"/>
                  </a:lnTo>
                  <a:lnTo>
                    <a:pt x="455683" y="455027"/>
                  </a:lnTo>
                  <a:lnTo>
                    <a:pt x="430401" y="455027"/>
                  </a:lnTo>
                  <a:cubicBezTo>
                    <a:pt x="388473" y="455027"/>
                    <a:pt x="354379" y="420991"/>
                    <a:pt x="354379" y="379223"/>
                  </a:cubicBezTo>
                  <a:cubicBezTo>
                    <a:pt x="354379" y="337367"/>
                    <a:pt x="388473" y="303331"/>
                    <a:pt x="430401" y="303331"/>
                  </a:cubicBezTo>
                  <a:lnTo>
                    <a:pt x="455683" y="303331"/>
                  </a:lnTo>
                  <a:lnTo>
                    <a:pt x="455683" y="278093"/>
                  </a:lnTo>
                  <a:cubicBezTo>
                    <a:pt x="455683" y="264141"/>
                    <a:pt x="466988" y="252766"/>
                    <a:pt x="480964" y="252766"/>
                  </a:cubicBezTo>
                  <a:close/>
                  <a:moveTo>
                    <a:pt x="303759" y="151716"/>
                  </a:moveTo>
                  <a:cubicBezTo>
                    <a:pt x="317817" y="151716"/>
                    <a:pt x="329117" y="163000"/>
                    <a:pt x="329117" y="176950"/>
                  </a:cubicBezTo>
                  <a:lnTo>
                    <a:pt x="329117" y="303301"/>
                  </a:lnTo>
                  <a:cubicBezTo>
                    <a:pt x="329117" y="317251"/>
                    <a:pt x="317817" y="328624"/>
                    <a:pt x="303759" y="328624"/>
                  </a:cubicBezTo>
                  <a:lnTo>
                    <a:pt x="227862" y="328624"/>
                  </a:lnTo>
                  <a:cubicBezTo>
                    <a:pt x="213893" y="328624"/>
                    <a:pt x="202593" y="317251"/>
                    <a:pt x="202593" y="303301"/>
                  </a:cubicBezTo>
                  <a:cubicBezTo>
                    <a:pt x="202593" y="289351"/>
                    <a:pt x="213893" y="278066"/>
                    <a:pt x="227862" y="278066"/>
                  </a:cubicBezTo>
                  <a:lnTo>
                    <a:pt x="278490" y="278066"/>
                  </a:lnTo>
                  <a:lnTo>
                    <a:pt x="278490" y="176950"/>
                  </a:lnTo>
                  <a:cubicBezTo>
                    <a:pt x="278490" y="163000"/>
                    <a:pt x="289790" y="151716"/>
                    <a:pt x="303759" y="151716"/>
                  </a:cubicBezTo>
                  <a:close/>
                  <a:moveTo>
                    <a:pt x="303762" y="0"/>
                  </a:moveTo>
                  <a:cubicBezTo>
                    <a:pt x="443049" y="0"/>
                    <a:pt x="570410" y="92781"/>
                    <a:pt x="606634" y="220667"/>
                  </a:cubicBezTo>
                  <a:cubicBezTo>
                    <a:pt x="610461" y="234086"/>
                    <a:pt x="602629" y="248039"/>
                    <a:pt x="589190" y="251860"/>
                  </a:cubicBezTo>
                  <a:cubicBezTo>
                    <a:pt x="575839" y="255504"/>
                    <a:pt x="561688" y="247861"/>
                    <a:pt x="557950" y="234353"/>
                  </a:cubicBezTo>
                  <a:cubicBezTo>
                    <a:pt x="527779" y="127885"/>
                    <a:pt x="420888" y="50568"/>
                    <a:pt x="303762" y="50568"/>
                  </a:cubicBezTo>
                  <a:cubicBezTo>
                    <a:pt x="164208" y="50568"/>
                    <a:pt x="50642" y="163967"/>
                    <a:pt x="50642" y="303317"/>
                  </a:cubicBezTo>
                  <a:cubicBezTo>
                    <a:pt x="50642" y="442755"/>
                    <a:pt x="164208" y="556154"/>
                    <a:pt x="303762" y="556154"/>
                  </a:cubicBezTo>
                  <a:cubicBezTo>
                    <a:pt x="317824" y="556154"/>
                    <a:pt x="329127" y="567441"/>
                    <a:pt x="329127" y="581394"/>
                  </a:cubicBezTo>
                  <a:cubicBezTo>
                    <a:pt x="329127" y="595347"/>
                    <a:pt x="317824" y="606722"/>
                    <a:pt x="303762" y="606722"/>
                  </a:cubicBezTo>
                  <a:cubicBezTo>
                    <a:pt x="136261" y="606722"/>
                    <a:pt x="0" y="470661"/>
                    <a:pt x="0" y="303317"/>
                  </a:cubicBezTo>
                  <a:cubicBezTo>
                    <a:pt x="0" y="136061"/>
                    <a:pt x="136261" y="0"/>
                    <a:pt x="303762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2" name="íṡlîďè"/>
            <p:cNvSpPr>
              <a:spLocks/>
            </p:cNvSpPr>
            <p:nvPr/>
          </p:nvSpPr>
          <p:spPr bwMode="auto">
            <a:xfrm>
              <a:off x="7829846" y="3609060"/>
              <a:ext cx="577058" cy="542005"/>
            </a:xfrm>
            <a:custGeom>
              <a:avLst/>
              <a:gdLst>
                <a:gd name="connsiteX0" fmla="*/ 56750 w 607390"/>
                <a:gd name="connsiteY0" fmla="*/ 456490 h 607501"/>
                <a:gd name="connsiteX1" fmla="*/ 56750 w 607390"/>
                <a:gd name="connsiteY1" fmla="*/ 523646 h 607501"/>
                <a:gd name="connsiteX2" fmla="*/ 113641 w 607390"/>
                <a:gd name="connsiteY2" fmla="*/ 531360 h 607501"/>
                <a:gd name="connsiteX3" fmla="*/ 102008 w 607390"/>
                <a:gd name="connsiteY3" fmla="*/ 519744 h 607501"/>
                <a:gd name="connsiteX4" fmla="*/ 56750 w 607390"/>
                <a:gd name="connsiteY4" fmla="*/ 456490 h 607501"/>
                <a:gd name="connsiteX5" fmla="*/ 534959 w 607390"/>
                <a:gd name="connsiteY5" fmla="*/ 262916 h 607501"/>
                <a:gd name="connsiteX6" fmla="*/ 412180 w 607390"/>
                <a:gd name="connsiteY6" fmla="*/ 404943 h 607501"/>
                <a:gd name="connsiteX7" fmla="*/ 405728 w 607390"/>
                <a:gd name="connsiteY7" fmla="*/ 411386 h 607501"/>
                <a:gd name="connsiteX8" fmla="*/ 408364 w 607390"/>
                <a:gd name="connsiteY8" fmla="*/ 429446 h 607501"/>
                <a:gd name="connsiteX9" fmla="*/ 356653 w 607390"/>
                <a:gd name="connsiteY9" fmla="*/ 479722 h 607501"/>
                <a:gd name="connsiteX10" fmla="*/ 332115 w 607390"/>
                <a:gd name="connsiteY10" fmla="*/ 473279 h 607501"/>
                <a:gd name="connsiteX11" fmla="*/ 227422 w 607390"/>
                <a:gd name="connsiteY11" fmla="*/ 541706 h 607501"/>
                <a:gd name="connsiteX12" fmla="*/ 303670 w 607390"/>
                <a:gd name="connsiteY12" fmla="*/ 555954 h 607501"/>
                <a:gd name="connsiteX13" fmla="*/ 308850 w 607390"/>
                <a:gd name="connsiteY13" fmla="*/ 555954 h 607501"/>
                <a:gd name="connsiteX14" fmla="*/ 544047 w 607390"/>
                <a:gd name="connsiteY14" fmla="*/ 327440 h 607501"/>
                <a:gd name="connsiteX15" fmla="*/ 534959 w 607390"/>
                <a:gd name="connsiteY15" fmla="*/ 262916 h 607501"/>
                <a:gd name="connsiteX16" fmla="*/ 285541 w 607390"/>
                <a:gd name="connsiteY16" fmla="*/ 154471 h 607501"/>
                <a:gd name="connsiteX17" fmla="*/ 337195 w 607390"/>
                <a:gd name="connsiteY17" fmla="*/ 206090 h 607501"/>
                <a:gd name="connsiteX18" fmla="*/ 285541 w 607390"/>
                <a:gd name="connsiteY18" fmla="*/ 257709 h 607501"/>
                <a:gd name="connsiteX19" fmla="*/ 233887 w 607390"/>
                <a:gd name="connsiteY19" fmla="*/ 206090 h 607501"/>
                <a:gd name="connsiteX20" fmla="*/ 285541 w 607390"/>
                <a:gd name="connsiteY20" fmla="*/ 154471 h 607501"/>
                <a:gd name="connsiteX21" fmla="*/ 308850 w 607390"/>
                <a:gd name="connsiteY21" fmla="*/ 88672 h 607501"/>
                <a:gd name="connsiteX22" fmla="*/ 73563 w 607390"/>
                <a:gd name="connsiteY22" fmla="*/ 318456 h 607501"/>
                <a:gd name="connsiteX23" fmla="*/ 138178 w 607390"/>
                <a:gd name="connsiteY23" fmla="*/ 484895 h 607501"/>
                <a:gd name="connsiteX24" fmla="*/ 171804 w 607390"/>
                <a:gd name="connsiteY24" fmla="*/ 513301 h 607501"/>
                <a:gd name="connsiteX25" fmla="*/ 306215 w 607390"/>
                <a:gd name="connsiteY25" fmla="*/ 429446 h 607501"/>
                <a:gd name="connsiteX26" fmla="*/ 306215 w 607390"/>
                <a:gd name="connsiteY26" fmla="*/ 426814 h 607501"/>
                <a:gd name="connsiteX27" fmla="*/ 357925 w 607390"/>
                <a:gd name="connsiteY27" fmla="*/ 376537 h 607501"/>
                <a:gd name="connsiteX28" fmla="*/ 367013 w 607390"/>
                <a:gd name="connsiteY28" fmla="*/ 377808 h 607501"/>
                <a:gd name="connsiteX29" fmla="*/ 376010 w 607390"/>
                <a:gd name="connsiteY29" fmla="*/ 368733 h 607501"/>
                <a:gd name="connsiteX30" fmla="*/ 511694 w 607390"/>
                <a:gd name="connsiteY30" fmla="*/ 203564 h 607501"/>
                <a:gd name="connsiteX31" fmla="*/ 479431 w 607390"/>
                <a:gd name="connsiteY31" fmla="*/ 161001 h 607501"/>
                <a:gd name="connsiteX32" fmla="*/ 313940 w 607390"/>
                <a:gd name="connsiteY32" fmla="*/ 88672 h 607501"/>
                <a:gd name="connsiteX33" fmla="*/ 308850 w 607390"/>
                <a:gd name="connsiteY33" fmla="*/ 88672 h 607501"/>
                <a:gd name="connsiteX34" fmla="*/ 508195 w 607390"/>
                <a:gd name="connsiteY34" fmla="*/ 50783 h 607501"/>
                <a:gd name="connsiteX35" fmla="*/ 438081 w 607390"/>
                <a:gd name="connsiteY35" fmla="*/ 69341 h 607501"/>
                <a:gd name="connsiteX36" fmla="*/ 515602 w 607390"/>
                <a:gd name="connsiteY36" fmla="*/ 126152 h 607501"/>
                <a:gd name="connsiteX37" fmla="*/ 537594 w 607390"/>
                <a:gd name="connsiteY37" fmla="*/ 153196 h 607501"/>
                <a:gd name="connsiteX38" fmla="*/ 554407 w 607390"/>
                <a:gd name="connsiteY38" fmla="*/ 89942 h 607501"/>
                <a:gd name="connsiteX39" fmla="*/ 545319 w 607390"/>
                <a:gd name="connsiteY39" fmla="*/ 60266 h 607501"/>
                <a:gd name="connsiteX40" fmla="*/ 508195 w 607390"/>
                <a:gd name="connsiteY40" fmla="*/ 50783 h 607501"/>
                <a:gd name="connsiteX41" fmla="*/ 500572 w 607390"/>
                <a:gd name="connsiteY41" fmla="*/ 756 h 607501"/>
                <a:gd name="connsiteX42" fmla="*/ 584125 w 607390"/>
                <a:gd name="connsiteY42" fmla="*/ 25418 h 607501"/>
                <a:gd name="connsiteX43" fmla="*/ 607390 w 607390"/>
                <a:gd name="connsiteY43" fmla="*/ 91303 h 607501"/>
                <a:gd name="connsiteX44" fmla="*/ 569857 w 607390"/>
                <a:gd name="connsiteY44" fmla="*/ 207466 h 607501"/>
                <a:gd name="connsiteX45" fmla="*/ 594485 w 607390"/>
                <a:gd name="connsiteY45" fmla="*/ 328711 h 607501"/>
                <a:gd name="connsiteX46" fmla="*/ 308850 w 607390"/>
                <a:gd name="connsiteY46" fmla="*/ 607501 h 607501"/>
                <a:gd name="connsiteX47" fmla="*/ 302307 w 607390"/>
                <a:gd name="connsiteY47" fmla="*/ 607501 h 607501"/>
                <a:gd name="connsiteX48" fmla="*/ 165351 w 607390"/>
                <a:gd name="connsiteY48" fmla="*/ 568841 h 607501"/>
                <a:gd name="connsiteX49" fmla="*/ 90376 w 607390"/>
                <a:gd name="connsiteY49" fmla="*/ 584269 h 607501"/>
                <a:gd name="connsiteX50" fmla="*/ 21852 w 607390"/>
                <a:gd name="connsiteY50" fmla="*/ 558495 h 607501"/>
                <a:gd name="connsiteX51" fmla="*/ 30940 w 607390"/>
                <a:gd name="connsiteY51" fmla="*/ 388154 h 607501"/>
                <a:gd name="connsiteX52" fmla="*/ 23125 w 607390"/>
                <a:gd name="connsiteY52" fmla="*/ 317095 h 607501"/>
                <a:gd name="connsiteX53" fmla="*/ 308850 w 607390"/>
                <a:gd name="connsiteY53" fmla="*/ 38304 h 607501"/>
                <a:gd name="connsiteX54" fmla="*/ 315303 w 607390"/>
                <a:gd name="connsiteY54" fmla="*/ 38304 h 607501"/>
                <a:gd name="connsiteX55" fmla="*/ 373466 w 607390"/>
                <a:gd name="connsiteY55" fmla="*/ 44838 h 607501"/>
                <a:gd name="connsiteX56" fmla="*/ 500572 w 607390"/>
                <a:gd name="connsiteY56" fmla="*/ 756 h 607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07390" h="607501">
                  <a:moveTo>
                    <a:pt x="56750" y="456490"/>
                  </a:moveTo>
                  <a:cubicBezTo>
                    <a:pt x="46390" y="487527"/>
                    <a:pt x="46390" y="512030"/>
                    <a:pt x="56750" y="523646"/>
                  </a:cubicBezTo>
                  <a:cubicBezTo>
                    <a:pt x="67110" y="533992"/>
                    <a:pt x="86468" y="536533"/>
                    <a:pt x="113641" y="531360"/>
                  </a:cubicBezTo>
                  <a:lnTo>
                    <a:pt x="102008" y="519744"/>
                  </a:lnTo>
                  <a:cubicBezTo>
                    <a:pt x="83923" y="500414"/>
                    <a:pt x="68383" y="479722"/>
                    <a:pt x="56750" y="456490"/>
                  </a:cubicBezTo>
                  <a:close/>
                  <a:moveTo>
                    <a:pt x="534959" y="262916"/>
                  </a:moveTo>
                  <a:cubicBezTo>
                    <a:pt x="502697" y="309381"/>
                    <a:pt x="461346" y="358478"/>
                    <a:pt x="412180" y="404943"/>
                  </a:cubicBezTo>
                  <a:lnTo>
                    <a:pt x="405728" y="411386"/>
                  </a:lnTo>
                  <a:cubicBezTo>
                    <a:pt x="407000" y="416559"/>
                    <a:pt x="408364" y="423002"/>
                    <a:pt x="408364" y="429446"/>
                  </a:cubicBezTo>
                  <a:cubicBezTo>
                    <a:pt x="407000" y="456490"/>
                    <a:pt x="383735" y="479722"/>
                    <a:pt x="356653" y="479722"/>
                  </a:cubicBezTo>
                  <a:cubicBezTo>
                    <a:pt x="347565" y="479722"/>
                    <a:pt x="339840" y="477181"/>
                    <a:pt x="332115" y="473279"/>
                  </a:cubicBezTo>
                  <a:cubicBezTo>
                    <a:pt x="297218" y="500414"/>
                    <a:pt x="262320" y="523646"/>
                    <a:pt x="227422" y="541706"/>
                  </a:cubicBezTo>
                  <a:cubicBezTo>
                    <a:pt x="251960" y="550781"/>
                    <a:pt x="277769" y="555954"/>
                    <a:pt x="303670" y="555954"/>
                  </a:cubicBezTo>
                  <a:lnTo>
                    <a:pt x="308850" y="555954"/>
                  </a:lnTo>
                  <a:cubicBezTo>
                    <a:pt x="435446" y="555954"/>
                    <a:pt x="541502" y="453949"/>
                    <a:pt x="544047" y="327440"/>
                  </a:cubicBezTo>
                  <a:cubicBezTo>
                    <a:pt x="544047" y="305569"/>
                    <a:pt x="541502" y="283607"/>
                    <a:pt x="534959" y="262916"/>
                  </a:cubicBezTo>
                  <a:close/>
                  <a:moveTo>
                    <a:pt x="285541" y="154471"/>
                  </a:moveTo>
                  <a:cubicBezTo>
                    <a:pt x="314069" y="154471"/>
                    <a:pt x="337195" y="177582"/>
                    <a:pt x="337195" y="206090"/>
                  </a:cubicBezTo>
                  <a:cubicBezTo>
                    <a:pt x="337195" y="234598"/>
                    <a:pt x="314069" y="257709"/>
                    <a:pt x="285541" y="257709"/>
                  </a:cubicBezTo>
                  <a:cubicBezTo>
                    <a:pt x="257013" y="257709"/>
                    <a:pt x="233887" y="234598"/>
                    <a:pt x="233887" y="206090"/>
                  </a:cubicBezTo>
                  <a:cubicBezTo>
                    <a:pt x="233887" y="177582"/>
                    <a:pt x="257013" y="154471"/>
                    <a:pt x="285541" y="154471"/>
                  </a:cubicBezTo>
                  <a:close/>
                  <a:moveTo>
                    <a:pt x="308850" y="88672"/>
                  </a:moveTo>
                  <a:cubicBezTo>
                    <a:pt x="182164" y="88672"/>
                    <a:pt x="76198" y="190677"/>
                    <a:pt x="73563" y="318456"/>
                  </a:cubicBezTo>
                  <a:cubicBezTo>
                    <a:pt x="72291" y="380349"/>
                    <a:pt x="95556" y="439791"/>
                    <a:pt x="138178" y="484895"/>
                  </a:cubicBezTo>
                  <a:cubicBezTo>
                    <a:pt x="148539" y="495241"/>
                    <a:pt x="160171" y="504316"/>
                    <a:pt x="171804" y="513301"/>
                  </a:cubicBezTo>
                  <a:cubicBezTo>
                    <a:pt x="210609" y="495241"/>
                    <a:pt x="257140" y="468106"/>
                    <a:pt x="306215" y="429446"/>
                  </a:cubicBezTo>
                  <a:lnTo>
                    <a:pt x="306215" y="426814"/>
                  </a:lnTo>
                  <a:cubicBezTo>
                    <a:pt x="307487" y="398409"/>
                    <a:pt x="330752" y="376537"/>
                    <a:pt x="357925" y="376537"/>
                  </a:cubicBezTo>
                  <a:cubicBezTo>
                    <a:pt x="361833" y="376537"/>
                    <a:pt x="364378" y="377808"/>
                    <a:pt x="367013" y="377808"/>
                  </a:cubicBezTo>
                  <a:cubicBezTo>
                    <a:pt x="369558" y="375176"/>
                    <a:pt x="372103" y="371364"/>
                    <a:pt x="376010" y="368733"/>
                  </a:cubicBezTo>
                  <a:cubicBezTo>
                    <a:pt x="432901" y="314554"/>
                    <a:pt x="479431" y="256472"/>
                    <a:pt x="511694" y="203564"/>
                  </a:cubicBezTo>
                  <a:cubicBezTo>
                    <a:pt x="502697" y="189316"/>
                    <a:pt x="492336" y="173888"/>
                    <a:pt x="479431" y="161001"/>
                  </a:cubicBezTo>
                  <a:cubicBezTo>
                    <a:pt x="435446" y="115807"/>
                    <a:pt x="377283" y="89942"/>
                    <a:pt x="313940" y="88672"/>
                  </a:cubicBezTo>
                  <a:cubicBezTo>
                    <a:pt x="312667" y="89942"/>
                    <a:pt x="311395" y="88672"/>
                    <a:pt x="308850" y="88672"/>
                  </a:cubicBezTo>
                  <a:close/>
                  <a:moveTo>
                    <a:pt x="508195" y="50783"/>
                  </a:moveTo>
                  <a:cubicBezTo>
                    <a:pt x="490110" y="51917"/>
                    <a:pt x="466527" y="57725"/>
                    <a:pt x="438081" y="69341"/>
                  </a:cubicBezTo>
                  <a:cubicBezTo>
                    <a:pt x="466527" y="83499"/>
                    <a:pt x="492336" y="102920"/>
                    <a:pt x="515602" y="126152"/>
                  </a:cubicBezTo>
                  <a:cubicBezTo>
                    <a:pt x="523326" y="135137"/>
                    <a:pt x="531142" y="144212"/>
                    <a:pt x="537594" y="153196"/>
                  </a:cubicBezTo>
                  <a:cubicBezTo>
                    <a:pt x="547955" y="128693"/>
                    <a:pt x="554407" y="108002"/>
                    <a:pt x="554407" y="89942"/>
                  </a:cubicBezTo>
                  <a:cubicBezTo>
                    <a:pt x="554407" y="77055"/>
                    <a:pt x="551772" y="66710"/>
                    <a:pt x="545319" y="60266"/>
                  </a:cubicBezTo>
                  <a:cubicBezTo>
                    <a:pt x="538866" y="53188"/>
                    <a:pt x="526280" y="49648"/>
                    <a:pt x="508195" y="50783"/>
                  </a:cubicBezTo>
                  <a:close/>
                  <a:moveTo>
                    <a:pt x="500572" y="756"/>
                  </a:moveTo>
                  <a:cubicBezTo>
                    <a:pt x="536594" y="-2647"/>
                    <a:pt x="565358" y="5407"/>
                    <a:pt x="584125" y="25418"/>
                  </a:cubicBezTo>
                  <a:cubicBezTo>
                    <a:pt x="599665" y="42207"/>
                    <a:pt x="607390" y="64169"/>
                    <a:pt x="607390" y="91303"/>
                  </a:cubicBezTo>
                  <a:cubicBezTo>
                    <a:pt x="607390" y="124791"/>
                    <a:pt x="593122" y="164813"/>
                    <a:pt x="569857" y="207466"/>
                  </a:cubicBezTo>
                  <a:cubicBezTo>
                    <a:pt x="586669" y="244856"/>
                    <a:pt x="595757" y="286148"/>
                    <a:pt x="594485" y="328711"/>
                  </a:cubicBezTo>
                  <a:cubicBezTo>
                    <a:pt x="591850" y="482354"/>
                    <a:pt x="463891" y="607501"/>
                    <a:pt x="308850" y="607501"/>
                  </a:cubicBezTo>
                  <a:lnTo>
                    <a:pt x="302307" y="607501"/>
                  </a:lnTo>
                  <a:cubicBezTo>
                    <a:pt x="253232" y="606231"/>
                    <a:pt x="206702" y="592073"/>
                    <a:pt x="165351" y="568841"/>
                  </a:cubicBezTo>
                  <a:cubicBezTo>
                    <a:pt x="138178" y="579187"/>
                    <a:pt x="113641" y="584269"/>
                    <a:pt x="90376" y="584269"/>
                  </a:cubicBezTo>
                  <a:cubicBezTo>
                    <a:pt x="63203" y="584269"/>
                    <a:pt x="39937" y="576555"/>
                    <a:pt x="21852" y="558495"/>
                  </a:cubicBezTo>
                  <a:cubicBezTo>
                    <a:pt x="-10410" y="524917"/>
                    <a:pt x="-6593" y="465565"/>
                    <a:pt x="30940" y="388154"/>
                  </a:cubicBezTo>
                  <a:cubicBezTo>
                    <a:pt x="24488" y="364921"/>
                    <a:pt x="21852" y="341689"/>
                    <a:pt x="23125" y="317095"/>
                  </a:cubicBezTo>
                  <a:cubicBezTo>
                    <a:pt x="27032" y="163542"/>
                    <a:pt x="154991" y="38304"/>
                    <a:pt x="308850" y="38304"/>
                  </a:cubicBezTo>
                  <a:lnTo>
                    <a:pt x="315303" y="38304"/>
                  </a:lnTo>
                  <a:cubicBezTo>
                    <a:pt x="335932" y="38304"/>
                    <a:pt x="355381" y="40936"/>
                    <a:pt x="373466" y="44838"/>
                  </a:cubicBezTo>
                  <a:cubicBezTo>
                    <a:pt x="421269" y="19020"/>
                    <a:pt x="464550" y="4159"/>
                    <a:pt x="500572" y="75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  <p:sp>
        <p:nvSpPr>
          <p:cNvPr id="62" name="文本框 61"/>
          <p:cNvSpPr txBox="1"/>
          <p:nvPr/>
        </p:nvSpPr>
        <p:spPr>
          <a:xfrm>
            <a:off x="468313" y="555526"/>
            <a:ext cx="7107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+mn-ea"/>
              </a:rPr>
              <a:t>观</a:t>
            </a:r>
            <a:r>
              <a:rPr lang="zh-CN" altLang="en-US" sz="1200" dirty="0" smtClean="0">
                <a:latin typeface="+mn-ea"/>
              </a:rPr>
              <a:t>致汽车品牌</a:t>
            </a:r>
            <a:r>
              <a:rPr lang="en-US" altLang="zh-CN" sz="1200" dirty="0" smtClean="0">
                <a:latin typeface="+mn-ea"/>
              </a:rPr>
              <a:t>APP</a:t>
            </a:r>
            <a:r>
              <a:rPr lang="zh-CN" altLang="en-US" sz="1200" dirty="0" smtClean="0">
                <a:latin typeface="+mn-ea"/>
              </a:rPr>
              <a:t>主要是以品牌宣传与销售促进、会员与忠诚度营销及智能互联互通为主要目标，将消费者通过这一触点纳入到整体系统中，加强品牌与消费者的联系。</a:t>
            </a:r>
            <a:endParaRPr lang="zh-CN" altLang="en-US" sz="12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9846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标题 1"/>
          <p:cNvSpPr txBox="1">
            <a:spLocks/>
          </p:cNvSpPr>
          <p:nvPr/>
        </p:nvSpPr>
        <p:spPr bwMode="gray">
          <a:xfrm>
            <a:off x="468313" y="155515"/>
            <a:ext cx="73040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600" b="1" kern="120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2pPr>
            <a:lvl3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3pPr>
            <a:lvl4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4pPr>
            <a:lvl5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9pPr>
          </a:lstStyle>
          <a:p>
            <a:r>
              <a:rPr lang="en-US" altLang="zh-CN" dirty="0" smtClean="0">
                <a:latin typeface="+mj-ea"/>
                <a:ea typeface="+mj-ea"/>
              </a:rPr>
              <a:t>2.1  </a:t>
            </a:r>
            <a:r>
              <a:rPr lang="zh-CN" altLang="en-US" dirty="0" smtClean="0">
                <a:latin typeface="+mj-ea"/>
                <a:ea typeface="+mj-ea"/>
              </a:rPr>
              <a:t>项目</a:t>
            </a:r>
            <a:r>
              <a:rPr lang="zh-CN" altLang="en-US" dirty="0">
                <a:latin typeface="+mj-ea"/>
                <a:ea typeface="+mj-ea"/>
              </a:rPr>
              <a:t>价值</a:t>
            </a:r>
            <a:r>
              <a:rPr lang="en-US" altLang="zh-CN" dirty="0" smtClean="0">
                <a:latin typeface="+mj-ea"/>
                <a:ea typeface="+mj-ea"/>
              </a:rPr>
              <a:t> - </a:t>
            </a:r>
            <a:r>
              <a:rPr lang="zh-CN" altLang="en-US" dirty="0" smtClean="0">
                <a:latin typeface="+mj-ea"/>
                <a:ea typeface="+mj-ea"/>
              </a:rPr>
              <a:t>业务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37668" y="2266875"/>
            <a:ext cx="820261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solidFill>
                  <a:srgbClr val="7400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「价值层面」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过会员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培育机制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激励驱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客户行为，以此辅助各业务部门，产生忠诚度管理的成本效应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solidFill>
                  <a:srgbClr val="7400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「口碑层面</a:t>
            </a:r>
            <a:r>
              <a:rPr lang="zh-CN" altLang="en-US" sz="1400" dirty="0">
                <a:solidFill>
                  <a:srgbClr val="74003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」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迅速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结粉丝和实现车主及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OL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关键意见领袖）转化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通过提升粘滞度、活跃度、忠诚度、美誉度、传播力建立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观致汽车的品牌圈层，形成口碑效应，不断提升品牌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影响力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32101" y="1090989"/>
            <a:ext cx="81081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zh-CN" altLang="en-US" sz="1400" dirty="0" smtClean="0"/>
              <a:t>基于</a:t>
            </a:r>
            <a:r>
              <a:rPr kumimoji="1" lang="en-US" altLang="zh-CN" sz="1400" dirty="0" smtClean="0"/>
              <a:t>5</a:t>
            </a:r>
            <a:r>
              <a:rPr kumimoji="1" lang="zh-CN" altLang="en-US" sz="1400" dirty="0"/>
              <a:t>大场景“知、看、选、买、用</a:t>
            </a:r>
            <a:r>
              <a:rPr kumimoji="1" lang="zh-CN" altLang="en-US" sz="1400" dirty="0" smtClean="0"/>
              <a:t>”引导用户完成对观致品牌及车辆的“发现、了解、试探、相信、使用”认知体系</a:t>
            </a:r>
            <a:endParaRPr lang="zh-CN" altLang="en-US" sz="1400" dirty="0"/>
          </a:p>
        </p:txBody>
      </p:sp>
      <p:sp>
        <p:nvSpPr>
          <p:cNvPr id="21" name="文本框 20"/>
          <p:cNvSpPr txBox="1"/>
          <p:nvPr/>
        </p:nvSpPr>
        <p:spPr>
          <a:xfrm>
            <a:off x="453001" y="4280778"/>
            <a:ext cx="81081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车联网系统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实现车主、粉丝、爱车间的网状互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互联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建立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渠道极致体验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让品牌影响力实现极致扩大</a:t>
            </a:r>
            <a:endParaRPr lang="zh-CN" altLang="en-US" sz="1400" dirty="0"/>
          </a:p>
        </p:txBody>
      </p:sp>
      <p:sp>
        <p:nvSpPr>
          <p:cNvPr id="23" name="矩形 22"/>
          <p:cNvSpPr/>
          <p:nvPr/>
        </p:nvSpPr>
        <p:spPr>
          <a:xfrm>
            <a:off x="485246" y="692261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品牌宣传与销售促进</a:t>
            </a:r>
            <a:endParaRPr lang="zh-CN" altLang="en-US" sz="1600" dirty="0"/>
          </a:p>
        </p:txBody>
      </p:sp>
      <p:sp>
        <p:nvSpPr>
          <p:cNvPr id="24" name="矩形 23"/>
          <p:cNvSpPr/>
          <p:nvPr/>
        </p:nvSpPr>
        <p:spPr>
          <a:xfrm>
            <a:off x="469015" y="3849475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智能互通互联</a:t>
            </a:r>
            <a:endParaRPr lang="zh-CN" altLang="en-US" sz="1600" dirty="0"/>
          </a:p>
        </p:txBody>
      </p:sp>
      <p:sp>
        <p:nvSpPr>
          <p:cNvPr id="25" name="矩形 24"/>
          <p:cNvSpPr/>
          <p:nvPr/>
        </p:nvSpPr>
        <p:spPr>
          <a:xfrm>
            <a:off x="479912" y="1923718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bg1"/>
                </a:solidFill>
              </a:rPr>
              <a:t>会员与忠诚度营销</a:t>
            </a:r>
          </a:p>
        </p:txBody>
      </p:sp>
      <p:sp>
        <p:nvSpPr>
          <p:cNvPr id="9" name="灯片编号占位符 3"/>
          <p:cNvSpPr txBox="1">
            <a:spLocks/>
          </p:cNvSpPr>
          <p:nvPr/>
        </p:nvSpPr>
        <p:spPr bwMode="gray">
          <a:xfrm>
            <a:off x="8682038" y="4929188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/>
              <a:t>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640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 bwMode="gray">
          <a:xfrm>
            <a:off x="468313" y="155515"/>
            <a:ext cx="73040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600" b="1" kern="120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2pPr>
            <a:lvl3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3pPr>
            <a:lvl4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4pPr>
            <a:lvl5pPr algn="l" defTabSz="457200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-52"/>
                <a:ea typeface="MS PGothic" pitchFamily="34" charset="-128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-52"/>
                <a:ea typeface="ＭＳ Ｐゴシック" charset="-128"/>
              </a:defRPr>
            </a:lvl9pPr>
          </a:lstStyle>
          <a:p>
            <a:r>
              <a:rPr lang="en-US" altLang="zh-CN" dirty="0" smtClean="0">
                <a:latin typeface="+mj-ea"/>
                <a:ea typeface="+mj-ea"/>
              </a:rPr>
              <a:t>2.2  </a:t>
            </a:r>
            <a:r>
              <a:rPr lang="zh-CN" altLang="en-US" dirty="0" smtClean="0">
                <a:latin typeface="+mj-ea"/>
                <a:ea typeface="+mj-ea"/>
              </a:rPr>
              <a:t>项目价值</a:t>
            </a:r>
            <a:r>
              <a:rPr lang="en-US" altLang="zh-CN" dirty="0" smtClean="0">
                <a:latin typeface="+mj-ea"/>
                <a:ea typeface="+mj-ea"/>
              </a:rPr>
              <a:t> - </a:t>
            </a:r>
            <a:r>
              <a:rPr lang="zh-CN" altLang="en-US" dirty="0" smtClean="0">
                <a:latin typeface="+mj-ea"/>
                <a:ea typeface="+mj-ea"/>
              </a:rPr>
              <a:t>技术</a:t>
            </a:r>
            <a:endParaRPr lang="zh-CN" altLang="en-US" dirty="0">
              <a:latin typeface="+mj-ea"/>
              <a:ea typeface="+mj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85246" y="692261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前端</a:t>
            </a:r>
            <a:endParaRPr lang="zh-CN" altLang="en-US" sz="1600" dirty="0"/>
          </a:p>
        </p:txBody>
      </p:sp>
      <p:sp>
        <p:nvSpPr>
          <p:cNvPr id="6" name="矩形 5"/>
          <p:cNvSpPr/>
          <p:nvPr/>
        </p:nvSpPr>
        <p:spPr>
          <a:xfrm>
            <a:off x="485246" y="2562553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后台</a:t>
            </a:r>
            <a:endParaRPr lang="zh-CN" altLang="en-US" sz="1600" dirty="0"/>
          </a:p>
        </p:txBody>
      </p:sp>
      <p:sp>
        <p:nvSpPr>
          <p:cNvPr id="36" name="文本框 35"/>
          <p:cNvSpPr txBox="1"/>
          <p:nvPr/>
        </p:nvSpPr>
        <p:spPr>
          <a:xfrm>
            <a:off x="437124" y="3040177"/>
            <a:ext cx="36828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采集用户路径并进行数据分析清洗技术生成用户</a:t>
            </a:r>
            <a:r>
              <a:rPr lang="zh-CN" altLang="en-US" sz="1400" dirty="0" smtClean="0">
                <a:latin typeface="+mn-ea"/>
              </a:rPr>
              <a:t>画像</a:t>
            </a:r>
            <a:r>
              <a:rPr lang="zh-CN" altLang="en-US" sz="1400" dirty="0" smtClean="0"/>
              <a:t>，以及多系统数据联通，实现</a:t>
            </a:r>
            <a:r>
              <a:rPr lang="zh-CN" altLang="en-US" sz="1400" dirty="0"/>
              <a:t>潜</a:t>
            </a:r>
            <a:r>
              <a:rPr lang="zh-CN" altLang="en-US" sz="1400" dirty="0" smtClean="0"/>
              <a:t>客挖掘、智能推荐、精准营销等</a:t>
            </a:r>
            <a:endParaRPr lang="zh-CN" altLang="en-US" sz="1400" dirty="0"/>
          </a:p>
        </p:txBody>
      </p:sp>
      <p:sp>
        <p:nvSpPr>
          <p:cNvPr id="41" name="Oval 4"/>
          <p:cNvSpPr>
            <a:spLocks noChangeArrowheads="1"/>
          </p:cNvSpPr>
          <p:nvPr/>
        </p:nvSpPr>
        <p:spPr bwMode="gray">
          <a:xfrm rot="18246229">
            <a:off x="6008005" y="3762150"/>
            <a:ext cx="876935" cy="962129"/>
          </a:xfrm>
          <a:prstGeom prst="ellipse">
            <a:avLst/>
          </a:prstGeom>
          <a:solidFill>
            <a:srgbClr val="44546A">
              <a:lumMod val="20000"/>
              <a:lumOff val="80000"/>
            </a:srgbClr>
          </a:solidFill>
          <a:ln w="6350" algn="ctr">
            <a:noFill/>
            <a:prstDash val="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74003C"/>
                </a:solidFill>
                <a:effectLst/>
                <a:uLnTx/>
                <a:uFillTx/>
                <a:latin typeface="华文琥珀" panose="02010800040101010101" pitchFamily="2" charset="-122"/>
                <a:ea typeface="华文琥珀" panose="02010800040101010101" pitchFamily="2" charset="-122"/>
              </a:rPr>
              <a:t>数据</a:t>
            </a: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srgbClr val="74003C"/>
              </a:solidFill>
              <a:effectLst/>
              <a:uLnTx/>
              <a:uFillTx/>
              <a:latin typeface="华文琥珀" panose="02010800040101010101" pitchFamily="2" charset="-122"/>
              <a:ea typeface="华文琥珀" panose="02010800040101010101" pitchFamily="2" charset="-122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4322161" y="3159356"/>
            <a:ext cx="2000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粉丝培育，促进转化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6404187" y="2827569"/>
            <a:ext cx="1964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</a:t>
            </a:r>
            <a:r>
              <a:rPr lang="zh-CN" altLang="en-US" sz="12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维系，降低流失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5" name="直接连接符 44"/>
          <p:cNvCxnSpPr/>
          <p:nvPr/>
        </p:nvCxnSpPr>
        <p:spPr>
          <a:xfrm flipV="1">
            <a:off x="6112694" y="4270438"/>
            <a:ext cx="1" cy="272465"/>
          </a:xfrm>
          <a:prstGeom prst="line">
            <a:avLst/>
          </a:prstGeom>
          <a:noFill/>
          <a:ln w="28575" cap="flat" cmpd="sng" algn="ctr">
            <a:solidFill>
              <a:srgbClr val="44546A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46" name="Oval 5"/>
          <p:cNvSpPr>
            <a:spLocks noChangeArrowheads="1"/>
          </p:cNvSpPr>
          <p:nvPr/>
        </p:nvSpPr>
        <p:spPr bwMode="gray">
          <a:xfrm rot="18246229">
            <a:off x="5839790" y="4237562"/>
            <a:ext cx="372906" cy="409181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algn="ctr">
            <a:solidFill>
              <a:srgbClr val="EBF5FF"/>
            </a:solidFill>
            <a:round/>
            <a:headEnd/>
            <a:tailEnd/>
          </a:ln>
          <a:effectLst>
            <a:outerShdw dist="45791" dir="3378596" algn="ctr" rotWithShape="0">
              <a:srgbClr val="44546A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7" name="Oval 6"/>
          <p:cNvSpPr>
            <a:spLocks noChangeArrowheads="1"/>
          </p:cNvSpPr>
          <p:nvPr/>
        </p:nvSpPr>
        <p:spPr bwMode="gray">
          <a:xfrm rot="18246229">
            <a:off x="6119283" y="3653718"/>
            <a:ext cx="372906" cy="409182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algn="ctr">
            <a:solidFill>
              <a:srgbClr val="EBF5FF"/>
            </a:solidFill>
            <a:round/>
            <a:headEnd/>
            <a:tailEnd/>
          </a:ln>
          <a:effectLst>
            <a:outerShdw dist="45791" dir="3378596" algn="ctr" rotWithShape="0">
              <a:srgbClr val="44546A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8" name="Oval 7"/>
          <p:cNvSpPr>
            <a:spLocks noChangeArrowheads="1"/>
          </p:cNvSpPr>
          <p:nvPr/>
        </p:nvSpPr>
        <p:spPr bwMode="gray">
          <a:xfrm rot="18246229">
            <a:off x="6686612" y="4156436"/>
            <a:ext cx="371912" cy="409181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algn="ctr">
            <a:solidFill>
              <a:srgbClr val="EBF5FF"/>
            </a:solidFill>
            <a:round/>
            <a:headEnd/>
            <a:tailEnd/>
          </a:ln>
          <a:effectLst>
            <a:outerShdw dist="45791" dir="3378596" algn="ctr" rotWithShape="0">
              <a:srgbClr val="44546A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49" name="椭圆 48"/>
          <p:cNvSpPr/>
          <p:nvPr/>
        </p:nvSpPr>
        <p:spPr bwMode="auto">
          <a:xfrm>
            <a:off x="4538870" y="3490734"/>
            <a:ext cx="1784857" cy="1063512"/>
          </a:xfrm>
          <a:prstGeom prst="ellipse">
            <a:avLst/>
          </a:prstGeom>
          <a:solidFill>
            <a:sysClr val="window" lastClr="FFFFFF">
              <a:alpha val="31000"/>
            </a:sysClr>
          </a:solidFill>
          <a:ln w="19050" cap="flat" cmpd="sng" algn="ctr">
            <a:solidFill>
              <a:srgbClr val="44546A">
                <a:lumMod val="75000"/>
              </a:srgb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0" name="椭圆 49"/>
          <p:cNvSpPr/>
          <p:nvPr/>
        </p:nvSpPr>
        <p:spPr bwMode="auto">
          <a:xfrm>
            <a:off x="6404187" y="3166976"/>
            <a:ext cx="1883056" cy="1314193"/>
          </a:xfrm>
          <a:prstGeom prst="ellipse">
            <a:avLst/>
          </a:prstGeom>
          <a:solidFill>
            <a:sysClr val="window" lastClr="FFFFFF">
              <a:alpha val="31000"/>
            </a:sysClr>
          </a:solidFill>
          <a:ln w="19050" cap="flat" cmpd="sng" algn="ctr">
            <a:solidFill>
              <a:srgbClr val="44546A">
                <a:lumMod val="75000"/>
              </a:srgb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6020234" y="3721784"/>
            <a:ext cx="645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为</a:t>
            </a:r>
            <a:endParaRPr lang="zh-CN" altLang="en-US" sz="1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5708915" y="4292636"/>
            <a:ext cx="645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潜</a:t>
            </a:r>
            <a:r>
              <a:rPr lang="zh-CN" altLang="en-US" sz="11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</a:t>
            </a:r>
            <a:endParaRPr lang="zh-CN" altLang="en-US" sz="1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6565103" y="4261175"/>
            <a:ext cx="645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客</a:t>
            </a:r>
            <a:endParaRPr lang="zh-CN" altLang="en-US" sz="1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4703813" y="3976020"/>
            <a:ext cx="9703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0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索分配</a:t>
            </a:r>
          </a:p>
        </p:txBody>
      </p:sp>
      <p:sp>
        <p:nvSpPr>
          <p:cNvPr id="55" name="文本框 54"/>
          <p:cNvSpPr txBox="1"/>
          <p:nvPr/>
        </p:nvSpPr>
        <p:spPr>
          <a:xfrm>
            <a:off x="4702721" y="4201777"/>
            <a:ext cx="10434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0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索培育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4701126" y="3649284"/>
            <a:ext cx="9480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潜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画像</a:t>
            </a:r>
          </a:p>
        </p:txBody>
      </p:sp>
      <p:sp>
        <p:nvSpPr>
          <p:cNvPr id="57" name="文本框 56"/>
          <p:cNvSpPr txBox="1"/>
          <p:nvPr/>
        </p:nvSpPr>
        <p:spPr>
          <a:xfrm>
            <a:off x="5923303" y="3395368"/>
            <a:ext cx="69494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0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贴标签</a:t>
            </a:r>
          </a:p>
        </p:txBody>
      </p:sp>
      <p:sp>
        <p:nvSpPr>
          <p:cNvPr id="58" name="文本框 57"/>
          <p:cNvSpPr txBox="1"/>
          <p:nvPr/>
        </p:nvSpPr>
        <p:spPr>
          <a:xfrm>
            <a:off x="6974530" y="3295231"/>
            <a:ext cx="9480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主画像</a:t>
            </a:r>
            <a:endParaRPr lang="zh-CN" altLang="en-US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7166483" y="3589208"/>
            <a:ext cx="10959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05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主关怀</a:t>
            </a:r>
            <a:endParaRPr lang="zh-CN" altLang="en-US" sz="105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7175451" y="3791001"/>
            <a:ext cx="108702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05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主营销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485245" y="1157131"/>
            <a:ext cx="72871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满足一定时间内数据并发，实现便捷交互，界面简洁，操作简单，有较好的客户体验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485245" y="1609612"/>
            <a:ext cx="72871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 smtClean="0"/>
              <a:t>与多个系统联通，建立完善的应用功能，可以完整的跟踪用户行为路径</a:t>
            </a:r>
            <a:endParaRPr lang="zh-CN" altLang="en-US" sz="1400" dirty="0"/>
          </a:p>
        </p:txBody>
      </p:sp>
      <p:sp>
        <p:nvSpPr>
          <p:cNvPr id="67" name="灯片编号占位符 3"/>
          <p:cNvSpPr txBox="1">
            <a:spLocks/>
          </p:cNvSpPr>
          <p:nvPr/>
        </p:nvSpPr>
        <p:spPr bwMode="gray">
          <a:xfrm>
            <a:off x="8682038" y="4929188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/>
              <a:t>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453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8313" y="155515"/>
            <a:ext cx="7304088" cy="400110"/>
          </a:xfrm>
        </p:spPr>
        <p:txBody>
          <a:bodyPr/>
          <a:lstStyle/>
          <a:p>
            <a:r>
              <a:rPr lang="en-US" altLang="zh-CN" dirty="0" smtClean="0"/>
              <a:t>3.1 </a:t>
            </a:r>
            <a:r>
              <a:rPr lang="zh-CN" altLang="en-US" dirty="0" smtClean="0"/>
              <a:t>项目</a:t>
            </a:r>
            <a:r>
              <a:rPr lang="zh-CN" altLang="en-US" dirty="0"/>
              <a:t>范围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38" name="iṧḻídé">
            <a:extLst>
              <a:ext uri="{FF2B5EF4-FFF2-40B4-BE49-F238E27FC236}">
                <a16:creationId xmlns:a16="http://schemas.microsoft.com/office/drawing/2014/main" id="{7AA54ED0-5CAD-49A9-8632-C6AEE58908DD}"/>
              </a:ext>
            </a:extLst>
          </p:cNvPr>
          <p:cNvSpPr/>
          <p:nvPr/>
        </p:nvSpPr>
        <p:spPr>
          <a:xfrm>
            <a:off x="361799" y="3441034"/>
            <a:ext cx="2201268" cy="9874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8751" y="0"/>
                </a:lnTo>
                <a:lnTo>
                  <a:pt x="0" y="21600"/>
                </a:lnTo>
                <a:lnTo>
                  <a:pt x="14029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>
              <a:alpha val="93405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sz="1350"/>
          </a:p>
        </p:txBody>
      </p:sp>
      <p:sp>
        <p:nvSpPr>
          <p:cNvPr id="8" name="矩形 7"/>
          <p:cNvSpPr/>
          <p:nvPr/>
        </p:nvSpPr>
        <p:spPr>
          <a:xfrm>
            <a:off x="104145" y="2931790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系统运维服务</a:t>
            </a:r>
            <a:endParaRPr lang="zh-CN" altLang="en-US" sz="1600" dirty="0"/>
          </a:p>
        </p:txBody>
      </p:sp>
      <p:sp>
        <p:nvSpPr>
          <p:cNvPr id="9" name="矩形 8"/>
          <p:cNvSpPr/>
          <p:nvPr/>
        </p:nvSpPr>
        <p:spPr>
          <a:xfrm>
            <a:off x="104145" y="1092652"/>
            <a:ext cx="2480431" cy="360000"/>
          </a:xfrm>
          <a:prstGeom prst="rect">
            <a:avLst/>
          </a:prstGeom>
          <a:solidFill>
            <a:srgbClr val="740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项目开发</a:t>
            </a:r>
            <a:endParaRPr lang="zh-CN" altLang="en-US" sz="1600" dirty="0"/>
          </a:p>
        </p:txBody>
      </p:sp>
      <p:sp>
        <p:nvSpPr>
          <p:cNvPr id="6" name="矩形 5"/>
          <p:cNvSpPr/>
          <p:nvPr/>
        </p:nvSpPr>
        <p:spPr>
          <a:xfrm>
            <a:off x="134209" y="1536757"/>
            <a:ext cx="8887554" cy="700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+mn-ea"/>
              </a:rPr>
              <a:t>本次开发功能主要包含甲方所定义的</a:t>
            </a:r>
            <a:r>
              <a:rPr lang="en-US" altLang="zh-CN" sz="1400" dirty="0">
                <a:latin typeface="+mn-ea"/>
              </a:rPr>
              <a:t>APP</a:t>
            </a:r>
            <a:r>
              <a:rPr lang="zh-CN" altLang="en-US" sz="1400" dirty="0">
                <a:latin typeface="+mn-ea"/>
              </a:rPr>
              <a:t>模块</a:t>
            </a:r>
            <a:r>
              <a:rPr lang="zh-CN" altLang="en-US" sz="1400" dirty="0" smtClean="0">
                <a:latin typeface="+mn-ea"/>
              </a:rPr>
              <a:t>内容，模块</a:t>
            </a:r>
            <a:r>
              <a:rPr lang="zh-CN" altLang="en-US" sz="1400" dirty="0">
                <a:latin typeface="+mn-ea"/>
              </a:rPr>
              <a:t>内容将根据甲方的运营情况适当调整</a:t>
            </a:r>
            <a:r>
              <a:rPr lang="zh-CN" altLang="en-US" sz="1400" dirty="0" smtClean="0">
                <a:latin typeface="+mn-ea"/>
              </a:rPr>
              <a:t>。</a:t>
            </a:r>
            <a:endParaRPr lang="en-US" altLang="zh-CN" sz="1400" dirty="0" smtClean="0">
              <a:latin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 smtClean="0">
                <a:latin typeface="+mn-ea"/>
              </a:rPr>
              <a:t>当</a:t>
            </a:r>
            <a:r>
              <a:rPr lang="en-US" altLang="zh-CN" sz="1400" dirty="0">
                <a:latin typeface="+mn-ea"/>
              </a:rPr>
              <a:t>APP</a:t>
            </a:r>
            <a:r>
              <a:rPr lang="zh-CN" altLang="en-US" sz="1400" dirty="0">
                <a:latin typeface="+mn-ea"/>
              </a:rPr>
              <a:t>需要与其它系统做对接时，乙方负责</a:t>
            </a:r>
            <a:r>
              <a:rPr lang="en-US" altLang="zh-CN" sz="1400" dirty="0">
                <a:latin typeface="+mn-ea"/>
              </a:rPr>
              <a:t>APP</a:t>
            </a:r>
            <a:r>
              <a:rPr lang="zh-CN" altLang="en-US" sz="1400" dirty="0">
                <a:latin typeface="+mn-ea"/>
              </a:rPr>
              <a:t>系统方的程序接口，</a:t>
            </a:r>
            <a:r>
              <a:rPr lang="en-US" altLang="zh-CN" sz="1400" dirty="0">
                <a:latin typeface="+mn-ea"/>
              </a:rPr>
              <a:t>APP</a:t>
            </a:r>
            <a:r>
              <a:rPr lang="zh-CN" altLang="en-US" sz="1400" dirty="0">
                <a:latin typeface="+mn-ea"/>
              </a:rPr>
              <a:t>外部系统则需要甲方安排提供。</a:t>
            </a:r>
          </a:p>
        </p:txBody>
      </p:sp>
      <p:sp>
        <p:nvSpPr>
          <p:cNvPr id="7" name="矩形 6"/>
          <p:cNvSpPr/>
          <p:nvPr/>
        </p:nvSpPr>
        <p:spPr>
          <a:xfrm>
            <a:off x="107469" y="3439984"/>
            <a:ext cx="8887554" cy="699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/>
              <a:t>乙方需向甲方提供为期</a:t>
            </a:r>
            <a:r>
              <a:rPr lang="en-US" altLang="zh-CN" sz="1400" dirty="0"/>
              <a:t>1</a:t>
            </a:r>
            <a:r>
              <a:rPr lang="zh-CN" altLang="en-US" sz="1400" dirty="0"/>
              <a:t>年的运维服务，运维服务起始日期以甲方</a:t>
            </a:r>
            <a:r>
              <a:rPr lang="en-US" altLang="zh-CN" sz="1400" dirty="0"/>
              <a:t>APP1.0</a:t>
            </a:r>
            <a:r>
              <a:rPr lang="zh-CN" altLang="en-US" sz="1400" dirty="0"/>
              <a:t>版本上线起算</a:t>
            </a:r>
            <a:r>
              <a:rPr lang="zh-CN" altLang="en-US" sz="1400" dirty="0" smtClean="0"/>
              <a:t>。</a:t>
            </a:r>
            <a:endParaRPr lang="en-US" altLang="zh-CN" sz="1400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400" dirty="0" smtClean="0"/>
              <a:t>具体</a:t>
            </a:r>
            <a:r>
              <a:rPr lang="zh-CN" altLang="en-US" sz="1400" dirty="0"/>
              <a:t>工作内容将以系统运维阶段的描述为准。</a:t>
            </a:r>
          </a:p>
        </p:txBody>
      </p:sp>
    </p:spTree>
    <p:extLst>
      <p:ext uri="{BB962C8B-B14F-4D97-AF65-F5344CB8AC3E}">
        <p14:creationId xmlns:p14="http://schemas.microsoft.com/office/powerpoint/2010/main" val="1821987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3075" y="296863"/>
            <a:ext cx="7304088" cy="400110"/>
          </a:xfrm>
        </p:spPr>
        <p:txBody>
          <a:bodyPr/>
          <a:lstStyle/>
          <a:p>
            <a:r>
              <a:rPr lang="en-US" altLang="zh-CN" dirty="0" smtClean="0"/>
              <a:t>3.2 </a:t>
            </a:r>
            <a:r>
              <a:rPr lang="zh-CN" altLang="en-US" dirty="0" smtClean="0"/>
              <a:t>项目整体计划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10" name="图片 9"/>
          <p:cNvPicPr/>
          <p:nvPr/>
        </p:nvPicPr>
        <p:blipFill rotWithShape="1">
          <a:blip r:embed="rId3"/>
          <a:srcRect r="31220" b="36841"/>
          <a:stretch/>
        </p:blipFill>
        <p:spPr>
          <a:xfrm>
            <a:off x="473075" y="771550"/>
            <a:ext cx="7078117" cy="207457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426964" y="3110507"/>
            <a:ext cx="842493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0.1</a:t>
            </a:r>
            <a:r>
              <a:rPr lang="zh-CN" altLang="en-US" sz="1200" dirty="0" smtClean="0"/>
              <a:t>版本</a:t>
            </a:r>
            <a:r>
              <a:rPr lang="zh-CN" altLang="en-US" sz="1200" dirty="0"/>
              <a:t>计划在</a:t>
            </a:r>
            <a:r>
              <a:rPr lang="en-US" altLang="zh-CN" sz="1200" dirty="0"/>
              <a:t>4/20</a:t>
            </a:r>
            <a:r>
              <a:rPr lang="zh-CN" altLang="en-US" sz="1200" dirty="0"/>
              <a:t>上线</a:t>
            </a:r>
            <a:r>
              <a:rPr lang="zh-CN" altLang="en-US" sz="1200" dirty="0" smtClean="0"/>
              <a:t>发布；</a:t>
            </a:r>
            <a:endParaRPr lang="zh-CN" altLang="en-US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dirty="0" smtClean="0"/>
              <a:t>1.0</a:t>
            </a:r>
            <a:r>
              <a:rPr lang="zh-CN" altLang="en-US" sz="1200" dirty="0" smtClean="0"/>
              <a:t>版本</a:t>
            </a:r>
            <a:r>
              <a:rPr lang="zh-CN" altLang="en-US" sz="1200" dirty="0"/>
              <a:t>计划</a:t>
            </a:r>
            <a:r>
              <a:rPr lang="zh-CN" altLang="en-US" sz="1200" dirty="0" smtClean="0"/>
              <a:t>在</a:t>
            </a:r>
            <a:r>
              <a:rPr lang="en-US" altLang="zh-CN" sz="1200" dirty="0" smtClean="0"/>
              <a:t>7/20</a:t>
            </a:r>
            <a:r>
              <a:rPr lang="zh-CN" altLang="en-US" sz="1200" dirty="0" smtClean="0"/>
              <a:t>发布；</a:t>
            </a:r>
            <a:endParaRPr lang="en-US" altLang="zh-CN" sz="1200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 smtClean="0"/>
              <a:t>大</a:t>
            </a:r>
            <a:r>
              <a:rPr lang="zh-CN" altLang="en-US" sz="1200" dirty="0"/>
              <a:t>版本迭代期间将根据实际情况，进行小版本的迭代</a:t>
            </a:r>
            <a:r>
              <a:rPr lang="zh-CN" altLang="en-US" sz="1200" dirty="0" smtClean="0"/>
              <a:t>；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 smtClean="0"/>
              <a:t>运</a:t>
            </a:r>
            <a:r>
              <a:rPr lang="zh-CN" altLang="en-US" sz="1200" dirty="0"/>
              <a:t>维服务从</a:t>
            </a:r>
            <a:r>
              <a:rPr lang="en-US" altLang="zh-CN" sz="1200" dirty="0"/>
              <a:t>1.0</a:t>
            </a:r>
            <a:r>
              <a:rPr lang="zh-CN" altLang="en-US" sz="1200" dirty="0"/>
              <a:t>版本发布上线后启动，并且每月发布一个小版本。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 smtClean="0"/>
              <a:t>产品</a:t>
            </a:r>
            <a:r>
              <a:rPr lang="zh-CN" altLang="en-US" sz="1200" dirty="0"/>
              <a:t>的运营，将是观致汽车官方</a:t>
            </a:r>
            <a:r>
              <a:rPr lang="en-US" altLang="zh-CN" sz="1200" dirty="0"/>
              <a:t>APP</a:t>
            </a:r>
            <a:r>
              <a:rPr lang="zh-CN" altLang="en-US" sz="1200" dirty="0"/>
              <a:t>能否持续增加客户粘性、体现品牌价值至关重要的部分。</a:t>
            </a:r>
          </a:p>
        </p:txBody>
      </p:sp>
    </p:spTree>
    <p:extLst>
      <p:ext uri="{BB962C8B-B14F-4D97-AF65-F5344CB8AC3E}">
        <p14:creationId xmlns:p14="http://schemas.microsoft.com/office/powerpoint/2010/main" val="177934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73075" y="296863"/>
            <a:ext cx="7304088" cy="400110"/>
          </a:xfrm>
        </p:spPr>
        <p:txBody>
          <a:bodyPr/>
          <a:lstStyle/>
          <a:p>
            <a:r>
              <a:rPr lang="en-US" altLang="zh-CN" dirty="0" smtClean="0"/>
              <a:t>3.3 </a:t>
            </a:r>
            <a:r>
              <a:rPr lang="zh-CN" altLang="en-US" dirty="0" smtClean="0"/>
              <a:t>项目管理阶段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2038" y="4929188"/>
            <a:ext cx="339725" cy="152400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584766400"/>
              </p:ext>
            </p:extLst>
          </p:nvPr>
        </p:nvGraphicFramePr>
        <p:xfrm>
          <a:off x="251519" y="843558"/>
          <a:ext cx="8770243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251519" y="2365920"/>
            <a:ext cx="13846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要专注于定义、计划、启动三大项目活动及其项目任务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718213" y="2365920"/>
            <a:ext cx="14529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采用迭代开发方式，每个</a:t>
            </a:r>
            <a:r>
              <a:rPr lang="zh-CN" altLang="en-US" sz="1200" dirty="0" smtClean="0"/>
              <a:t>迭代</a:t>
            </a:r>
            <a:r>
              <a:rPr lang="zh-CN" altLang="en-US" sz="1200" dirty="0"/>
              <a:t>有</a:t>
            </a:r>
            <a:r>
              <a:rPr lang="zh-CN" altLang="en-US" sz="1200" dirty="0" smtClean="0"/>
              <a:t>分析</a:t>
            </a:r>
            <a:r>
              <a:rPr lang="zh-CN" altLang="en-US" sz="1200" dirty="0"/>
              <a:t>、设计和开发步骤。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3247067" y="2365920"/>
            <a:ext cx="16045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执行系统测试和用户验收测试并解决测试中出现的问题，为正式环境的部署上线做好准备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927542" y="2365920"/>
            <a:ext cx="12640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 smtClean="0"/>
              <a:t>按要求将系统成功部署上线</a:t>
            </a:r>
            <a:endParaRPr lang="zh-CN" altLang="en-US" sz="1200" dirty="0"/>
          </a:p>
        </p:txBody>
      </p:sp>
      <p:sp>
        <p:nvSpPr>
          <p:cNvPr id="13" name="文本框 12"/>
          <p:cNvSpPr txBox="1"/>
          <p:nvPr/>
        </p:nvSpPr>
        <p:spPr>
          <a:xfrm>
            <a:off x="6405955" y="2365920"/>
            <a:ext cx="12640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 smtClean="0"/>
              <a:t>乙方提供培训服务，甲方接收培训并熟练掌握系统操作</a:t>
            </a:r>
            <a:endParaRPr lang="zh-CN" altLang="en-US" sz="1200" dirty="0"/>
          </a:p>
        </p:txBody>
      </p:sp>
      <p:sp>
        <p:nvSpPr>
          <p:cNvPr id="14" name="文本框 13"/>
          <p:cNvSpPr txBox="1"/>
          <p:nvPr/>
        </p:nvSpPr>
        <p:spPr>
          <a:xfrm>
            <a:off x="7865471" y="2365920"/>
            <a:ext cx="12640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/>
              <a:t>系统运维阶段，乙方将提供为期一年的系统运维服务。</a:t>
            </a:r>
          </a:p>
        </p:txBody>
      </p:sp>
    </p:spTree>
    <p:extLst>
      <p:ext uri="{BB962C8B-B14F-4D97-AF65-F5344CB8AC3E}">
        <p14:creationId xmlns:p14="http://schemas.microsoft.com/office/powerpoint/2010/main" val="257198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papjcm502lNOQxJ2SI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wsme0iQUSXZ9zC7PWA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W0DN_0p0yqMtkhZCbA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6XxhUCoUe1TNLArxrh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qMQ4pdOk.t6_ciD.JJ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.2ai.ikEOl0DbgFnwX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uuvsmF4UKxXl5HA6Jd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Vas36W9k.q3IVR9dxI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jUtC6DUqF39BLN1my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wsme0iQUSXZ9zC7PWA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W0DN_0p0yqMtkhZCbA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6XxhUCoUe1TNLArxrh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qMQ4pdOk.t6_ciD.JJ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.2ai.ikEOl0DbgFnwX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ZzFhqxUaROiXEQmcWg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uuvsmF4UKxXl5HA6Jd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Vas36W9k.q3IVR9dxI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Vas36W9k.q3IVR9dxI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ePbwO.JEyL1Z0sQZi9_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F5JFNy40yliX0m0NGL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ePbwO.JEyL1Z0sQZi9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F5JFNy40yliX0m0NGL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ePbwO.JEyL1Z0sQZi9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F5JFNy40yliX0m0NGLcQ"/>
</p:tagLst>
</file>

<file path=ppt/theme/theme1.xml><?xml version="1.0" encoding="utf-8"?>
<a:theme xmlns:a="http://schemas.openxmlformats.org/drawingml/2006/main" name="1_Qoros_CF_IRL018">
  <a:themeElements>
    <a:clrScheme name="Qoros_CF_IRL018 1">
      <a:dk1>
        <a:srgbClr val="000000"/>
      </a:dk1>
      <a:lt1>
        <a:srgbClr val="FFFFFF"/>
      </a:lt1>
      <a:dk2>
        <a:srgbClr val="7D0A3C"/>
      </a:dk2>
      <a:lt2>
        <a:srgbClr val="333333"/>
      </a:lt2>
      <a:accent1>
        <a:srgbClr val="7D0A3C"/>
      </a:accent1>
      <a:accent2>
        <a:srgbClr val="002D7D"/>
      </a:accent2>
      <a:accent3>
        <a:srgbClr val="FFFFFF"/>
      </a:accent3>
      <a:accent4>
        <a:srgbClr val="000000"/>
      </a:accent4>
      <a:accent5>
        <a:srgbClr val="BFAAAF"/>
      </a:accent5>
      <a:accent6>
        <a:srgbClr val="002871"/>
      </a:accent6>
      <a:hlink>
        <a:srgbClr val="7F7F7F"/>
      </a:hlink>
      <a:folHlink>
        <a:srgbClr val="007D78"/>
      </a:folHlink>
    </a:clrScheme>
    <a:fontScheme name="Qoros Font">
      <a:majorFont>
        <a:latin typeface="Verdana"/>
        <a:ea typeface="微软雅黑"/>
        <a:cs typeface="Arial"/>
      </a:majorFont>
      <a:minorFont>
        <a:latin typeface="Verdana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rgbClr val="969696"/>
          </a:solidFill>
          <a:prstDash val="solid"/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Qoros_CF_IRL018 1">
        <a:dk1>
          <a:srgbClr val="000000"/>
        </a:dk1>
        <a:lt1>
          <a:srgbClr val="FFFFFF"/>
        </a:lt1>
        <a:dk2>
          <a:srgbClr val="7D0A3C"/>
        </a:dk2>
        <a:lt2>
          <a:srgbClr val="333333"/>
        </a:lt2>
        <a:accent1>
          <a:srgbClr val="7D0A3C"/>
        </a:accent1>
        <a:accent2>
          <a:srgbClr val="002D7D"/>
        </a:accent2>
        <a:accent3>
          <a:srgbClr val="FFFFFF"/>
        </a:accent3>
        <a:accent4>
          <a:srgbClr val="000000"/>
        </a:accent4>
        <a:accent5>
          <a:srgbClr val="BFAAAF"/>
        </a:accent5>
        <a:accent6>
          <a:srgbClr val="002871"/>
        </a:accent6>
        <a:hlink>
          <a:srgbClr val="7F7F7F"/>
        </a:hlink>
        <a:folHlink>
          <a:srgbClr val="007D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slogan test_1227</Template>
  <TotalTime>1058</TotalTime>
  <Words>1722</Words>
  <Application>Microsoft Office PowerPoint</Application>
  <PresentationFormat>全屏显示(16:9)</PresentationFormat>
  <Paragraphs>384</Paragraphs>
  <Slides>22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40" baseType="lpstr">
      <vt:lpstr>.PingFang SC</vt:lpstr>
      <vt:lpstr>Arial Unicode MS</vt:lpstr>
      <vt:lpstr>Helvetica Neue</vt:lpstr>
      <vt:lpstr>ＭＳ Ｐゴシック</vt:lpstr>
      <vt:lpstr>ＭＳ Ｐゴシック</vt:lpstr>
      <vt:lpstr>等线</vt:lpstr>
      <vt:lpstr>华文琥珀</vt:lpstr>
      <vt:lpstr>宋体</vt:lpstr>
      <vt:lpstr>Microsoft YaHei</vt:lpstr>
      <vt:lpstr>Microsoft YaHei</vt:lpstr>
      <vt:lpstr>Arial</vt:lpstr>
      <vt:lpstr>Calibri</vt:lpstr>
      <vt:lpstr>Times New Roman</vt:lpstr>
      <vt:lpstr>Verdana</vt:lpstr>
      <vt:lpstr>Wingdings</vt:lpstr>
      <vt:lpstr>1_Qoros_CF_IRL018</vt:lpstr>
      <vt:lpstr>think-cell Slide</vt:lpstr>
      <vt:lpstr>文档</vt:lpstr>
      <vt:lpstr>观致汽车官方APP开发项目启动会议</vt:lpstr>
      <vt:lpstr>目  录</vt:lpstr>
      <vt:lpstr>1 项目背景</vt:lpstr>
      <vt:lpstr>2.1  项目价值 - 业务</vt:lpstr>
      <vt:lpstr>PowerPoint 演示文稿</vt:lpstr>
      <vt:lpstr>PowerPoint 演示文稿</vt:lpstr>
      <vt:lpstr>3.1 项目范围</vt:lpstr>
      <vt:lpstr>3.2 项目整体计划</vt:lpstr>
      <vt:lpstr>3.3 项目管理阶段</vt:lpstr>
      <vt:lpstr>3.4  项目组织架构</vt:lpstr>
      <vt:lpstr>PowerPoint 演示文稿</vt:lpstr>
      <vt:lpstr>PowerPoint 演示文稿</vt:lpstr>
      <vt:lpstr>3.7 系统架构</vt:lpstr>
      <vt:lpstr>3.8 后端技术体系</vt:lpstr>
      <vt:lpstr>3.9 APP技术体系</vt:lpstr>
      <vt:lpstr>3.10 系统拓补结构</vt:lpstr>
      <vt:lpstr>4.1  项目启动资料</vt:lpstr>
      <vt:lpstr>4.2 项目启动系统环境</vt:lpstr>
      <vt:lpstr>4.3 硬件规格</vt:lpstr>
      <vt:lpstr>5  项目变更管理程序</vt:lpstr>
      <vt:lpstr>Thanks！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观致汽车品牌框架及品牌沟通体系</dc:title>
  <dc:creator>Orange Zhou</dc:creator>
  <cp:lastModifiedBy>285015133@qq.com</cp:lastModifiedBy>
  <cp:revision>175</cp:revision>
  <dcterms:created xsi:type="dcterms:W3CDTF">2018-01-26T06:53:35Z</dcterms:created>
  <dcterms:modified xsi:type="dcterms:W3CDTF">2018-03-13T10:28:55Z</dcterms:modified>
</cp:coreProperties>
</file>